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5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6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61" r:id="rId5"/>
    <p:sldMasterId id="2147483673" r:id="rId6"/>
    <p:sldMasterId id="2147483718" r:id="rId7"/>
    <p:sldMasterId id="2147483745" r:id="rId8"/>
    <p:sldMasterId id="2147483789" r:id="rId9"/>
  </p:sldMasterIdLst>
  <p:notesMasterIdLst>
    <p:notesMasterId r:id="rId39"/>
  </p:notesMasterIdLst>
  <p:handoutMasterIdLst>
    <p:handoutMasterId r:id="rId40"/>
  </p:handoutMasterIdLst>
  <p:sldIdLst>
    <p:sldId id="300" r:id="rId10"/>
    <p:sldId id="899" r:id="rId11"/>
    <p:sldId id="2147481216" r:id="rId12"/>
    <p:sldId id="2147481188" r:id="rId13"/>
    <p:sldId id="2147481110" r:id="rId14"/>
    <p:sldId id="2147481231" r:id="rId15"/>
    <p:sldId id="2147481237" r:id="rId16"/>
    <p:sldId id="2147481131" r:id="rId17"/>
    <p:sldId id="2147481137" r:id="rId18"/>
    <p:sldId id="2147481175" r:id="rId19"/>
    <p:sldId id="2147477513" r:id="rId20"/>
    <p:sldId id="2147481236" r:id="rId21"/>
    <p:sldId id="2147481106" r:id="rId22"/>
    <p:sldId id="2147481226" r:id="rId23"/>
    <p:sldId id="2147481196" r:id="rId24"/>
    <p:sldId id="2147481222" r:id="rId25"/>
    <p:sldId id="2147481221" r:id="rId26"/>
    <p:sldId id="2147481201" r:id="rId27"/>
    <p:sldId id="2147481214" r:id="rId28"/>
    <p:sldId id="2147481235" r:id="rId29"/>
    <p:sldId id="2147481238" r:id="rId30"/>
    <p:sldId id="2147481187" r:id="rId31"/>
    <p:sldId id="2147481230" r:id="rId32"/>
    <p:sldId id="2147481211" r:id="rId33"/>
    <p:sldId id="2147481233" r:id="rId34"/>
    <p:sldId id="2147481234" r:id="rId35"/>
    <p:sldId id="3876" r:id="rId36"/>
    <p:sldId id="2147477514" r:id="rId37"/>
    <p:sldId id="4251" r:id="rId38"/>
  </p:sldIdLst>
  <p:sldSz cx="12192000" cy="6858000"/>
  <p:notesSz cx="6735763" cy="98663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1245"/>
    <a:srgbClr val="F6C6AD"/>
    <a:srgbClr val="CC99FF"/>
    <a:srgbClr val="91D616"/>
    <a:srgbClr val="FF9966"/>
    <a:srgbClr val="FFD85D"/>
    <a:srgbClr val="CC0066"/>
    <a:srgbClr val="FFF4E5"/>
    <a:srgbClr val="37256C"/>
    <a:srgbClr val="F36B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2" autoAdjust="0"/>
    <p:restoredTop sz="85135" autoAdjust="0"/>
  </p:normalViewPr>
  <p:slideViewPr>
    <p:cSldViewPr snapToObjects="1">
      <p:cViewPr varScale="1">
        <p:scale>
          <a:sx n="87" d="100"/>
          <a:sy n="87" d="100"/>
        </p:scale>
        <p:origin x="816" y="8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93" d="100"/>
          <a:sy n="93" d="100"/>
        </p:scale>
        <p:origin x="3744" y="102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handoutMaster" Target="handoutMasters/handoutMaster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20" Type="http://schemas.openxmlformats.org/officeDocument/2006/relationships/slide" Target="slides/slide11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sper Løffler Nielsen" userId="0b8ccd23-76ae-4798-9434-19a993c8eec6" providerId="ADAL" clId="{9B4150B6-0CFD-4E08-AF6B-6AC2BEF67E4A}"/>
    <pc:docChg chg="undo custSel addSld modSld">
      <pc:chgData name="Jesper Løffler Nielsen" userId="0b8ccd23-76ae-4798-9434-19a993c8eec6" providerId="ADAL" clId="{9B4150B6-0CFD-4E08-AF6B-6AC2BEF67E4A}" dt="2025-10-09T13:33:52.248" v="604" actId="20577"/>
      <pc:docMkLst>
        <pc:docMk/>
      </pc:docMkLst>
      <pc:sldChg chg="modSp mod">
        <pc:chgData name="Jesper Løffler Nielsen" userId="0b8ccd23-76ae-4798-9434-19a993c8eec6" providerId="ADAL" clId="{9B4150B6-0CFD-4E08-AF6B-6AC2BEF67E4A}" dt="2025-10-03T09:12:05.147" v="599"/>
        <pc:sldMkLst>
          <pc:docMk/>
          <pc:sldMk cId="1966149204" sldId="2147477513"/>
        </pc:sldMkLst>
        <pc:graphicFrameChg chg="mod modGraphic">
          <ac:chgData name="Jesper Løffler Nielsen" userId="0b8ccd23-76ae-4798-9434-19a993c8eec6" providerId="ADAL" clId="{9B4150B6-0CFD-4E08-AF6B-6AC2BEF67E4A}" dt="2025-10-03T09:12:05.147" v="599"/>
          <ac:graphicFrameMkLst>
            <pc:docMk/>
            <pc:sldMk cId="1966149204" sldId="2147477513"/>
            <ac:graphicFrameMk id="27" creationId="{8C6A75E5-E87B-4312-6CF9-F79E27FCCBF8}"/>
          </ac:graphicFrameMkLst>
        </pc:graphicFrameChg>
      </pc:sldChg>
      <pc:sldChg chg="modSp mod">
        <pc:chgData name="Jesper Løffler Nielsen" userId="0b8ccd23-76ae-4798-9434-19a993c8eec6" providerId="ADAL" clId="{9B4150B6-0CFD-4E08-AF6B-6AC2BEF67E4A}" dt="2025-10-09T13:33:52.248" v="604" actId="20577"/>
        <pc:sldMkLst>
          <pc:docMk/>
          <pc:sldMk cId="4098797207" sldId="2147481137"/>
        </pc:sldMkLst>
        <pc:spChg chg="mod">
          <ac:chgData name="Jesper Løffler Nielsen" userId="0b8ccd23-76ae-4798-9434-19a993c8eec6" providerId="ADAL" clId="{9B4150B6-0CFD-4E08-AF6B-6AC2BEF67E4A}" dt="2025-10-09T13:33:52.248" v="604" actId="20577"/>
          <ac:spMkLst>
            <pc:docMk/>
            <pc:sldMk cId="4098797207" sldId="2147481137"/>
            <ac:spMk id="3" creationId="{36D1CF19-ED10-9738-7E5C-6F46E84921B9}"/>
          </ac:spMkLst>
        </pc:spChg>
      </pc:sldChg>
      <pc:sldChg chg="modSp add mod">
        <pc:chgData name="Jesper Løffler Nielsen" userId="0b8ccd23-76ae-4798-9434-19a993c8eec6" providerId="ADAL" clId="{9B4150B6-0CFD-4E08-AF6B-6AC2BEF67E4A}" dt="2025-09-29T11:42:35.663" v="579" actId="20577"/>
        <pc:sldMkLst>
          <pc:docMk/>
          <pc:sldMk cId="1722003808" sldId="2147481238"/>
        </pc:sldMkLst>
        <pc:spChg chg="mod">
          <ac:chgData name="Jesper Løffler Nielsen" userId="0b8ccd23-76ae-4798-9434-19a993c8eec6" providerId="ADAL" clId="{9B4150B6-0CFD-4E08-AF6B-6AC2BEF67E4A}" dt="2025-09-29T11:42:35.663" v="579" actId="20577"/>
          <ac:spMkLst>
            <pc:docMk/>
            <pc:sldMk cId="1722003808" sldId="2147481238"/>
            <ac:spMk id="10" creationId="{85F33EDA-3A97-C496-D705-4CEC567080D7}"/>
          </ac:spMkLst>
        </pc:spChg>
      </pc:sldChg>
    </pc:docChg>
  </pc:docChgLst>
  <pc:docChgLst>
    <pc:chgData name="Jesper Løffler Nielsen" userId="0b8ccd23-76ae-4798-9434-19a993c8eec6" providerId="ADAL" clId="{8F30BD79-B460-4CF0-BCF9-AE9EE3BA1FA5}"/>
    <pc:docChg chg="undo custSel addSld delSld modSld sldOrd delMainMaster">
      <pc:chgData name="Jesper Løffler Nielsen" userId="0b8ccd23-76ae-4798-9434-19a993c8eec6" providerId="ADAL" clId="{8F30BD79-B460-4CF0-BCF9-AE9EE3BA1FA5}" dt="2025-08-20T11:38:12.551" v="6305" actId="207"/>
      <pc:docMkLst>
        <pc:docMk/>
      </pc:docMkLst>
      <pc:sldChg chg="del">
        <pc:chgData name="Jesper Løffler Nielsen" userId="0b8ccd23-76ae-4798-9434-19a993c8eec6" providerId="ADAL" clId="{8F30BD79-B460-4CF0-BCF9-AE9EE3BA1FA5}" dt="2025-08-18T05:29:00.193" v="8" actId="47"/>
        <pc:sldMkLst>
          <pc:docMk/>
          <pc:sldMk cId="1313542405" sldId="256"/>
        </pc:sldMkLst>
      </pc:sldChg>
      <pc:sldChg chg="del">
        <pc:chgData name="Jesper Løffler Nielsen" userId="0b8ccd23-76ae-4798-9434-19a993c8eec6" providerId="ADAL" clId="{8F30BD79-B460-4CF0-BCF9-AE9EE3BA1FA5}" dt="2025-08-18T05:27:39.497" v="5" actId="47"/>
        <pc:sldMkLst>
          <pc:docMk/>
          <pc:sldMk cId="1725488584" sldId="588"/>
        </pc:sldMkLst>
      </pc:sldChg>
      <pc:sldChg chg="del">
        <pc:chgData name="Jesper Løffler Nielsen" userId="0b8ccd23-76ae-4798-9434-19a993c8eec6" providerId="ADAL" clId="{8F30BD79-B460-4CF0-BCF9-AE9EE3BA1FA5}" dt="2025-08-18T05:27:39.199" v="4" actId="47"/>
        <pc:sldMkLst>
          <pc:docMk/>
          <pc:sldMk cId="2432222595" sldId="3818"/>
        </pc:sldMkLst>
      </pc:sldChg>
      <pc:sldChg chg="del">
        <pc:chgData name="Jesper Løffler Nielsen" userId="0b8ccd23-76ae-4798-9434-19a993c8eec6" providerId="ADAL" clId="{8F30BD79-B460-4CF0-BCF9-AE9EE3BA1FA5}" dt="2025-08-18T05:27:40.693" v="6" actId="47"/>
        <pc:sldMkLst>
          <pc:docMk/>
          <pc:sldMk cId="1996763023" sldId="3822"/>
        </pc:sldMkLst>
      </pc:sldChg>
      <pc:sldChg chg="add del">
        <pc:chgData name="Jesper Løffler Nielsen" userId="0b8ccd23-76ae-4798-9434-19a993c8eec6" providerId="ADAL" clId="{8F30BD79-B460-4CF0-BCF9-AE9EE3BA1FA5}" dt="2025-08-18T08:46:57.087" v="1502" actId="47"/>
        <pc:sldMkLst>
          <pc:docMk/>
          <pc:sldMk cId="3643999120" sldId="3869"/>
        </pc:sldMkLst>
      </pc:sldChg>
      <pc:sldChg chg="add del">
        <pc:chgData name="Jesper Løffler Nielsen" userId="0b8ccd23-76ae-4798-9434-19a993c8eec6" providerId="ADAL" clId="{8F30BD79-B460-4CF0-BCF9-AE9EE3BA1FA5}" dt="2025-08-18T08:22:11.153" v="857"/>
        <pc:sldMkLst>
          <pc:docMk/>
          <pc:sldMk cId="399740721" sldId="3980"/>
        </pc:sldMkLst>
      </pc:sldChg>
      <pc:sldChg chg="modSp add del mod">
        <pc:chgData name="Jesper Løffler Nielsen" userId="0b8ccd23-76ae-4798-9434-19a993c8eec6" providerId="ADAL" clId="{8F30BD79-B460-4CF0-BCF9-AE9EE3BA1FA5}" dt="2025-08-19T10:28:19.300" v="5062" actId="47"/>
        <pc:sldMkLst>
          <pc:docMk/>
          <pc:sldMk cId="2510843127" sldId="3980"/>
        </pc:sldMkLst>
      </pc:sldChg>
      <pc:sldChg chg="del">
        <pc:chgData name="Jesper Løffler Nielsen" userId="0b8ccd23-76ae-4798-9434-19a993c8eec6" providerId="ADAL" clId="{8F30BD79-B460-4CF0-BCF9-AE9EE3BA1FA5}" dt="2025-08-18T05:57:57.873" v="850" actId="47"/>
        <pc:sldMkLst>
          <pc:docMk/>
          <pc:sldMk cId="3076587489" sldId="2147477366"/>
        </pc:sldMkLst>
      </pc:sldChg>
      <pc:sldChg chg="del">
        <pc:chgData name="Jesper Løffler Nielsen" userId="0b8ccd23-76ae-4798-9434-19a993c8eec6" providerId="ADAL" clId="{8F30BD79-B460-4CF0-BCF9-AE9EE3BA1FA5}" dt="2025-08-18T05:28:10.549" v="7" actId="47"/>
        <pc:sldMkLst>
          <pc:docMk/>
          <pc:sldMk cId="2771348563" sldId="2147477376"/>
        </pc:sldMkLst>
      </pc:sldChg>
      <pc:sldChg chg="add del">
        <pc:chgData name="Jesper Løffler Nielsen" userId="0b8ccd23-76ae-4798-9434-19a993c8eec6" providerId="ADAL" clId="{8F30BD79-B460-4CF0-BCF9-AE9EE3BA1FA5}" dt="2025-08-18T05:39:28.058" v="99" actId="47"/>
        <pc:sldMkLst>
          <pc:docMk/>
          <pc:sldMk cId="3254621882" sldId="2147477463"/>
        </pc:sldMkLst>
      </pc:sldChg>
      <pc:sldChg chg="del">
        <pc:chgData name="Jesper Løffler Nielsen" userId="0b8ccd23-76ae-4798-9434-19a993c8eec6" providerId="ADAL" clId="{8F30BD79-B460-4CF0-BCF9-AE9EE3BA1FA5}" dt="2025-08-18T05:27:26.217" v="2" actId="2696"/>
        <pc:sldMkLst>
          <pc:docMk/>
          <pc:sldMk cId="3653270299" sldId="2147477463"/>
        </pc:sldMkLst>
      </pc:sldChg>
      <pc:sldChg chg="modSp add">
        <pc:chgData name="Jesper Løffler Nielsen" userId="0b8ccd23-76ae-4798-9434-19a993c8eec6" providerId="ADAL" clId="{8F30BD79-B460-4CF0-BCF9-AE9EE3BA1FA5}" dt="2025-08-18T08:29:50.830" v="1148"/>
        <pc:sldMkLst>
          <pc:docMk/>
          <pc:sldMk cId="1966149204" sldId="2147477513"/>
        </pc:sldMkLst>
      </pc:sldChg>
      <pc:sldChg chg="add del">
        <pc:chgData name="Jesper Løffler Nielsen" userId="0b8ccd23-76ae-4798-9434-19a993c8eec6" providerId="ADAL" clId="{8F30BD79-B460-4CF0-BCF9-AE9EE3BA1FA5}" dt="2025-08-18T05:58:02.227" v="851" actId="47"/>
        <pc:sldMkLst>
          <pc:docMk/>
          <pc:sldMk cId="1523620623" sldId="2147480960"/>
        </pc:sldMkLst>
      </pc:sldChg>
      <pc:sldChg chg="modSp mod ord">
        <pc:chgData name="Jesper Løffler Nielsen" userId="0b8ccd23-76ae-4798-9434-19a993c8eec6" providerId="ADAL" clId="{8F30BD79-B460-4CF0-BCF9-AE9EE3BA1FA5}" dt="2025-08-19T10:26:40.790" v="4975" actId="5793"/>
        <pc:sldMkLst>
          <pc:docMk/>
          <pc:sldMk cId="164295856" sldId="2147481110"/>
        </pc:sldMkLst>
      </pc:sldChg>
      <pc:sldChg chg="del">
        <pc:chgData name="Jesper Løffler Nielsen" userId="0b8ccd23-76ae-4798-9434-19a993c8eec6" providerId="ADAL" clId="{8F30BD79-B460-4CF0-BCF9-AE9EE3BA1FA5}" dt="2025-08-18T05:26:55.674" v="1" actId="47"/>
        <pc:sldMkLst>
          <pc:docMk/>
          <pc:sldMk cId="52560582" sldId="2147481113"/>
        </pc:sldMkLst>
      </pc:sldChg>
      <pc:sldChg chg="addSp delSp modSp mod">
        <pc:chgData name="Jesper Løffler Nielsen" userId="0b8ccd23-76ae-4798-9434-19a993c8eec6" providerId="ADAL" clId="{8F30BD79-B460-4CF0-BCF9-AE9EE3BA1FA5}" dt="2025-08-19T10:31:49.473" v="5202" actId="207"/>
        <pc:sldMkLst>
          <pc:docMk/>
          <pc:sldMk cId="4098797207" sldId="2147481137"/>
        </pc:sldMkLst>
      </pc:sldChg>
      <pc:sldChg chg="del">
        <pc:chgData name="Jesper Løffler Nielsen" userId="0b8ccd23-76ae-4798-9434-19a993c8eec6" providerId="ADAL" clId="{8F30BD79-B460-4CF0-BCF9-AE9EE3BA1FA5}" dt="2025-08-18T05:24:05.688" v="0" actId="47"/>
        <pc:sldMkLst>
          <pc:docMk/>
          <pc:sldMk cId="1564513321" sldId="2147481154"/>
        </pc:sldMkLst>
      </pc:sldChg>
      <pc:sldChg chg="del">
        <pc:chgData name="Jesper Løffler Nielsen" userId="0b8ccd23-76ae-4798-9434-19a993c8eec6" providerId="ADAL" clId="{8F30BD79-B460-4CF0-BCF9-AE9EE3BA1FA5}" dt="2025-08-18T05:57:12.209" v="849" actId="47"/>
        <pc:sldMkLst>
          <pc:docMk/>
          <pc:sldMk cId="3612247027" sldId="2147481160"/>
        </pc:sldMkLst>
      </pc:sldChg>
      <pc:sldChg chg="add del">
        <pc:chgData name="Jesper Løffler Nielsen" userId="0b8ccd23-76ae-4798-9434-19a993c8eec6" providerId="ADAL" clId="{8F30BD79-B460-4CF0-BCF9-AE9EE3BA1FA5}" dt="2025-08-18T05:31:30.938" v="51" actId="47"/>
        <pc:sldMkLst>
          <pc:docMk/>
          <pc:sldMk cId="1437707632" sldId="2147481161"/>
        </pc:sldMkLst>
      </pc:sldChg>
      <pc:sldChg chg="del">
        <pc:chgData name="Jesper Løffler Nielsen" userId="0b8ccd23-76ae-4798-9434-19a993c8eec6" providerId="ADAL" clId="{8F30BD79-B460-4CF0-BCF9-AE9EE3BA1FA5}" dt="2025-08-18T05:27:26.217" v="2" actId="2696"/>
        <pc:sldMkLst>
          <pc:docMk/>
          <pc:sldMk cId="4205648985" sldId="2147481161"/>
        </pc:sldMkLst>
      </pc:sldChg>
      <pc:sldChg chg="modSp mod">
        <pc:chgData name="Jesper Løffler Nielsen" userId="0b8ccd23-76ae-4798-9434-19a993c8eec6" providerId="ADAL" clId="{8F30BD79-B460-4CF0-BCF9-AE9EE3BA1FA5}" dt="2025-08-20T08:43:32.444" v="5707" actId="113"/>
        <pc:sldMkLst>
          <pc:docMk/>
          <pc:sldMk cId="2163077001" sldId="2147481175"/>
        </pc:sldMkLst>
      </pc:sldChg>
      <pc:sldChg chg="del">
        <pc:chgData name="Jesper Løffler Nielsen" userId="0b8ccd23-76ae-4798-9434-19a993c8eec6" providerId="ADAL" clId="{8F30BD79-B460-4CF0-BCF9-AE9EE3BA1FA5}" dt="2025-08-18T05:32:27.859" v="70" actId="47"/>
        <pc:sldMkLst>
          <pc:docMk/>
          <pc:sldMk cId="1485856661" sldId="2147481184"/>
        </pc:sldMkLst>
      </pc:sldChg>
      <pc:sldChg chg="addSp modSp del">
        <pc:chgData name="Jesper Løffler Nielsen" userId="0b8ccd23-76ae-4798-9434-19a993c8eec6" providerId="ADAL" clId="{8F30BD79-B460-4CF0-BCF9-AE9EE3BA1FA5}" dt="2025-08-18T08:25:11.288" v="864" actId="47"/>
        <pc:sldMkLst>
          <pc:docMk/>
          <pc:sldMk cId="1752013018" sldId="2147481195"/>
        </pc:sldMkLst>
      </pc:sldChg>
      <pc:sldChg chg="modSp mod">
        <pc:chgData name="Jesper Løffler Nielsen" userId="0b8ccd23-76ae-4798-9434-19a993c8eec6" providerId="ADAL" clId="{8F30BD79-B460-4CF0-BCF9-AE9EE3BA1FA5}" dt="2025-08-20T08:46:14.667" v="5729" actId="207"/>
        <pc:sldMkLst>
          <pc:docMk/>
          <pc:sldMk cId="1244103501" sldId="2147481196"/>
        </pc:sldMkLst>
      </pc:sldChg>
      <pc:sldChg chg="modSp mod">
        <pc:chgData name="Jesper Løffler Nielsen" userId="0b8ccd23-76ae-4798-9434-19a993c8eec6" providerId="ADAL" clId="{8F30BD79-B460-4CF0-BCF9-AE9EE3BA1FA5}" dt="2025-08-18T10:12:47.288" v="4783" actId="313"/>
        <pc:sldMkLst>
          <pc:docMk/>
          <pc:sldMk cId="3968860306" sldId="2147481201"/>
        </pc:sldMkLst>
      </pc:sldChg>
      <pc:sldChg chg="add del ord">
        <pc:chgData name="Jesper Løffler Nielsen" userId="0b8ccd23-76ae-4798-9434-19a993c8eec6" providerId="ADAL" clId="{8F30BD79-B460-4CF0-BCF9-AE9EE3BA1FA5}" dt="2025-08-18T10:17:04.584" v="4936" actId="2696"/>
        <pc:sldMkLst>
          <pc:docMk/>
          <pc:sldMk cId="23475053" sldId="2147481211"/>
        </pc:sldMkLst>
      </pc:sldChg>
      <pc:sldChg chg="addSp modSp add del">
        <pc:chgData name="Jesper Løffler Nielsen" userId="0b8ccd23-76ae-4798-9434-19a993c8eec6" providerId="ADAL" clId="{8F30BD79-B460-4CF0-BCF9-AE9EE3BA1FA5}" dt="2025-08-18T05:49:51.681" v="535" actId="2696"/>
        <pc:sldMkLst>
          <pc:docMk/>
          <pc:sldMk cId="511564243" sldId="2147481211"/>
        </pc:sldMkLst>
      </pc:sldChg>
      <pc:sldChg chg="add del">
        <pc:chgData name="Jesper Løffler Nielsen" userId="0b8ccd23-76ae-4798-9434-19a993c8eec6" providerId="ADAL" clId="{8F30BD79-B460-4CF0-BCF9-AE9EE3BA1FA5}" dt="2025-08-18T05:39:15.994" v="97" actId="2696"/>
        <pc:sldMkLst>
          <pc:docMk/>
          <pc:sldMk cId="1806205595" sldId="2147481211"/>
        </pc:sldMkLst>
      </pc:sldChg>
      <pc:sldChg chg="modSp add del mod">
        <pc:chgData name="Jesper Løffler Nielsen" userId="0b8ccd23-76ae-4798-9434-19a993c8eec6" providerId="ADAL" clId="{8F30BD79-B460-4CF0-BCF9-AE9EE3BA1FA5}" dt="2025-08-18T05:48:04.922" v="503" actId="2696"/>
        <pc:sldMkLst>
          <pc:docMk/>
          <pc:sldMk cId="3237578971" sldId="2147481211"/>
        </pc:sldMkLst>
      </pc:sldChg>
      <pc:sldChg chg="modSp add mod ord">
        <pc:chgData name="Jesper Løffler Nielsen" userId="0b8ccd23-76ae-4798-9434-19a993c8eec6" providerId="ADAL" clId="{8F30BD79-B460-4CF0-BCF9-AE9EE3BA1FA5}" dt="2025-08-18T10:17:51.549" v="4964"/>
        <pc:sldMkLst>
          <pc:docMk/>
          <pc:sldMk cId="4047952263" sldId="2147481211"/>
        </pc:sldMkLst>
      </pc:sldChg>
      <pc:sldChg chg="addSp modSp add mod">
        <pc:chgData name="Jesper Løffler Nielsen" userId="0b8ccd23-76ae-4798-9434-19a993c8eec6" providerId="ADAL" clId="{8F30BD79-B460-4CF0-BCF9-AE9EE3BA1FA5}" dt="2025-08-18T10:12:22.345" v="4777" actId="21"/>
        <pc:sldMkLst>
          <pc:docMk/>
          <pc:sldMk cId="1161534068" sldId="2147481214"/>
        </pc:sldMkLst>
      </pc:sldChg>
      <pc:sldChg chg="del">
        <pc:chgData name="Jesper Løffler Nielsen" userId="0b8ccd23-76ae-4798-9434-19a993c8eec6" providerId="ADAL" clId="{8F30BD79-B460-4CF0-BCF9-AE9EE3BA1FA5}" dt="2025-08-18T05:34:29.125" v="72" actId="47"/>
        <pc:sldMkLst>
          <pc:docMk/>
          <pc:sldMk cId="721548389" sldId="2147481215"/>
        </pc:sldMkLst>
      </pc:sldChg>
      <pc:sldChg chg="addSp delSp modSp add mod ord">
        <pc:chgData name="Jesper Løffler Nielsen" userId="0b8ccd23-76ae-4798-9434-19a993c8eec6" providerId="ADAL" clId="{8F30BD79-B460-4CF0-BCF9-AE9EE3BA1FA5}" dt="2025-08-19T10:37:07.306" v="5579"/>
        <pc:sldMkLst>
          <pc:docMk/>
          <pc:sldMk cId="548918598" sldId="2147481216"/>
        </pc:sldMkLst>
      </pc:sldChg>
      <pc:sldChg chg="delSp modSp add del mod">
        <pc:chgData name="Jesper Løffler Nielsen" userId="0b8ccd23-76ae-4798-9434-19a993c8eec6" providerId="ADAL" clId="{8F30BD79-B460-4CF0-BCF9-AE9EE3BA1FA5}" dt="2025-08-18T10:01:21.044" v="3758" actId="2696"/>
        <pc:sldMkLst>
          <pc:docMk/>
          <pc:sldMk cId="1066212418" sldId="2147481222"/>
        </pc:sldMkLst>
      </pc:sldChg>
      <pc:sldChg chg="del">
        <pc:chgData name="Jesper Løffler Nielsen" userId="0b8ccd23-76ae-4798-9434-19a993c8eec6" providerId="ADAL" clId="{8F30BD79-B460-4CF0-BCF9-AE9EE3BA1FA5}" dt="2025-08-18T05:39:37.031" v="100" actId="2696"/>
        <pc:sldMkLst>
          <pc:docMk/>
          <pc:sldMk cId="2382940435" sldId="2147481222"/>
        </pc:sldMkLst>
      </pc:sldChg>
      <pc:sldChg chg="modSp add mod">
        <pc:chgData name="Jesper Løffler Nielsen" userId="0b8ccd23-76ae-4798-9434-19a993c8eec6" providerId="ADAL" clId="{8F30BD79-B460-4CF0-BCF9-AE9EE3BA1FA5}" dt="2025-08-18T10:18:39.545" v="4972" actId="20577"/>
        <pc:sldMkLst>
          <pc:docMk/>
          <pc:sldMk cId="3498817032" sldId="2147481222"/>
        </pc:sldMkLst>
      </pc:sldChg>
      <pc:sldChg chg="add del">
        <pc:chgData name="Jesper Løffler Nielsen" userId="0b8ccd23-76ae-4798-9434-19a993c8eec6" providerId="ADAL" clId="{8F30BD79-B460-4CF0-BCF9-AE9EE3BA1FA5}" dt="2025-08-18T09:56:59.514" v="3677" actId="47"/>
        <pc:sldMkLst>
          <pc:docMk/>
          <pc:sldMk cId="293064424" sldId="2147481223"/>
        </pc:sldMkLst>
      </pc:sldChg>
      <pc:sldChg chg="del">
        <pc:chgData name="Jesper Løffler Nielsen" userId="0b8ccd23-76ae-4798-9434-19a993c8eec6" providerId="ADAL" clId="{8F30BD79-B460-4CF0-BCF9-AE9EE3BA1FA5}" dt="2025-08-18T05:39:37.031" v="100" actId="2696"/>
        <pc:sldMkLst>
          <pc:docMk/>
          <pc:sldMk cId="774787475" sldId="2147481223"/>
        </pc:sldMkLst>
      </pc:sldChg>
      <pc:sldChg chg="modSp del mod ord">
        <pc:chgData name="Jesper Løffler Nielsen" userId="0b8ccd23-76ae-4798-9434-19a993c8eec6" providerId="ADAL" clId="{8F30BD79-B460-4CF0-BCF9-AE9EE3BA1FA5}" dt="2025-08-18T10:07:33.904" v="4280" actId="47"/>
        <pc:sldMkLst>
          <pc:docMk/>
          <pc:sldMk cId="378217602" sldId="2147481224"/>
        </pc:sldMkLst>
      </pc:sldChg>
      <pc:sldChg chg="modSp add del mod ord">
        <pc:chgData name="Jesper Løffler Nielsen" userId="0b8ccd23-76ae-4798-9434-19a993c8eec6" providerId="ADAL" clId="{8F30BD79-B460-4CF0-BCF9-AE9EE3BA1FA5}" dt="2025-08-20T11:30:17.087" v="6171" actId="47"/>
        <pc:sldMkLst>
          <pc:docMk/>
          <pc:sldMk cId="679019589" sldId="2147481225"/>
        </pc:sldMkLst>
      </pc:sldChg>
      <pc:sldChg chg="add">
        <pc:chgData name="Jesper Løffler Nielsen" userId="0b8ccd23-76ae-4798-9434-19a993c8eec6" providerId="ADAL" clId="{8F30BD79-B460-4CF0-BCF9-AE9EE3BA1FA5}" dt="2025-08-18T05:33:38.034" v="71"/>
        <pc:sldMkLst>
          <pc:docMk/>
          <pc:sldMk cId="229100769" sldId="2147481226"/>
        </pc:sldMkLst>
      </pc:sldChg>
      <pc:sldChg chg="add del">
        <pc:chgData name="Jesper Løffler Nielsen" userId="0b8ccd23-76ae-4798-9434-19a993c8eec6" providerId="ADAL" clId="{8F30BD79-B460-4CF0-BCF9-AE9EE3BA1FA5}" dt="2025-08-18T05:29:51.207" v="10"/>
        <pc:sldMkLst>
          <pc:docMk/>
          <pc:sldMk cId="3977426018" sldId="2147481226"/>
        </pc:sldMkLst>
      </pc:sldChg>
      <pc:sldChg chg="modSp add del mod">
        <pc:chgData name="Jesper Løffler Nielsen" userId="0b8ccd23-76ae-4798-9434-19a993c8eec6" providerId="ADAL" clId="{8F30BD79-B460-4CF0-BCF9-AE9EE3BA1FA5}" dt="2025-08-18T10:01:32.634" v="3761" actId="47"/>
        <pc:sldMkLst>
          <pc:docMk/>
          <pc:sldMk cId="2390854566" sldId="2147481227"/>
        </pc:sldMkLst>
      </pc:sldChg>
      <pc:sldChg chg="add del">
        <pc:chgData name="Jesper Løffler Nielsen" userId="0b8ccd23-76ae-4798-9434-19a993c8eec6" providerId="ADAL" clId="{8F30BD79-B460-4CF0-BCF9-AE9EE3BA1FA5}" dt="2025-08-18T05:29:51.207" v="10"/>
        <pc:sldMkLst>
          <pc:docMk/>
          <pc:sldMk cId="2749116256" sldId="2147481227"/>
        </pc:sldMkLst>
      </pc:sldChg>
      <pc:sldChg chg="add del">
        <pc:chgData name="Jesper Løffler Nielsen" userId="0b8ccd23-76ae-4798-9434-19a993c8eec6" providerId="ADAL" clId="{8F30BD79-B460-4CF0-BCF9-AE9EE3BA1FA5}" dt="2025-08-18T09:29:21.395" v="1840" actId="47"/>
        <pc:sldMkLst>
          <pc:docMk/>
          <pc:sldMk cId="3327528338" sldId="2147481228"/>
        </pc:sldMkLst>
      </pc:sldChg>
      <pc:sldChg chg="addSp delSp modSp add del mod ord">
        <pc:chgData name="Jesper Løffler Nielsen" userId="0b8ccd23-76ae-4798-9434-19a993c8eec6" providerId="ADAL" clId="{8F30BD79-B460-4CF0-BCF9-AE9EE3BA1FA5}" dt="2025-08-18T10:18:18.174" v="4965" actId="47"/>
        <pc:sldMkLst>
          <pc:docMk/>
          <pc:sldMk cId="2372431894" sldId="2147481229"/>
        </pc:sldMkLst>
      </pc:sldChg>
      <pc:sldChg chg="modSp add mod ord">
        <pc:chgData name="Jesper Løffler Nielsen" userId="0b8ccd23-76ae-4798-9434-19a993c8eec6" providerId="ADAL" clId="{8F30BD79-B460-4CF0-BCF9-AE9EE3BA1FA5}" dt="2025-08-20T08:55:07.620" v="6168" actId="20577"/>
        <pc:sldMkLst>
          <pc:docMk/>
          <pc:sldMk cId="2160611965" sldId="2147481230"/>
        </pc:sldMkLst>
      </pc:sldChg>
      <pc:sldChg chg="modSp add mod">
        <pc:chgData name="Jesper Løffler Nielsen" userId="0b8ccd23-76ae-4798-9434-19a993c8eec6" providerId="ADAL" clId="{8F30BD79-B460-4CF0-BCF9-AE9EE3BA1FA5}" dt="2025-08-18T08:25:56.892" v="891" actId="20577"/>
        <pc:sldMkLst>
          <pc:docMk/>
          <pc:sldMk cId="703243785" sldId="2147481231"/>
        </pc:sldMkLst>
      </pc:sldChg>
      <pc:sldChg chg="addSp delSp modSp add del mod">
        <pc:chgData name="Jesper Løffler Nielsen" userId="0b8ccd23-76ae-4798-9434-19a993c8eec6" providerId="ADAL" clId="{8F30BD79-B460-4CF0-BCF9-AE9EE3BA1FA5}" dt="2025-08-18T08:44:45.291" v="1497" actId="47"/>
        <pc:sldMkLst>
          <pc:docMk/>
          <pc:sldMk cId="2635744568" sldId="2147481232"/>
        </pc:sldMkLst>
      </pc:sldChg>
      <pc:sldChg chg="addSp delSp modSp add mod">
        <pc:chgData name="Jesper Løffler Nielsen" userId="0b8ccd23-76ae-4798-9434-19a993c8eec6" providerId="ADAL" clId="{8F30BD79-B460-4CF0-BCF9-AE9EE3BA1FA5}" dt="2025-08-18T10:07:27.258" v="4279" actId="113"/>
        <pc:sldMkLst>
          <pc:docMk/>
          <pc:sldMk cId="2775902625" sldId="2147481233"/>
        </pc:sldMkLst>
      </pc:sldChg>
      <pc:sldChg chg="add del">
        <pc:chgData name="Jesper Løffler Nielsen" userId="0b8ccd23-76ae-4798-9434-19a993c8eec6" providerId="ADAL" clId="{8F30BD79-B460-4CF0-BCF9-AE9EE3BA1FA5}" dt="2025-08-18T08:35:15.677" v="1201" actId="2696"/>
        <pc:sldMkLst>
          <pc:docMk/>
          <pc:sldMk cId="2807635598" sldId="2147481233"/>
        </pc:sldMkLst>
      </pc:sldChg>
      <pc:sldChg chg="addSp modSp add mod">
        <pc:chgData name="Jesper Løffler Nielsen" userId="0b8ccd23-76ae-4798-9434-19a993c8eec6" providerId="ADAL" clId="{8F30BD79-B460-4CF0-BCF9-AE9EE3BA1FA5}" dt="2025-08-20T11:38:12.551" v="6305" actId="207"/>
        <pc:sldMkLst>
          <pc:docMk/>
          <pc:sldMk cId="218947619" sldId="2147481234"/>
        </pc:sldMkLst>
      </pc:sldChg>
      <pc:sldChg chg="add del">
        <pc:chgData name="Jesper Løffler Nielsen" userId="0b8ccd23-76ae-4798-9434-19a993c8eec6" providerId="ADAL" clId="{8F30BD79-B460-4CF0-BCF9-AE9EE3BA1FA5}" dt="2025-08-18T08:46:48.024" v="1500"/>
        <pc:sldMkLst>
          <pc:docMk/>
          <pc:sldMk cId="3601341845" sldId="2147481235"/>
        </pc:sldMkLst>
      </pc:sldChg>
      <pc:sldChg chg="modSp add mod">
        <pc:chgData name="Jesper Løffler Nielsen" userId="0b8ccd23-76ae-4798-9434-19a993c8eec6" providerId="ADAL" clId="{8F30BD79-B460-4CF0-BCF9-AE9EE3BA1FA5}" dt="2025-08-20T08:44:51.099" v="5713" actId="20578"/>
        <pc:sldMkLst>
          <pc:docMk/>
          <pc:sldMk cId="3831434256" sldId="2147481235"/>
        </pc:sldMkLst>
      </pc:sldChg>
      <pc:sldChg chg="modSp add mod ord">
        <pc:chgData name="Jesper Løffler Nielsen" userId="0b8ccd23-76ae-4798-9434-19a993c8eec6" providerId="ADAL" clId="{8F30BD79-B460-4CF0-BCF9-AE9EE3BA1FA5}" dt="2025-08-20T11:29:50.205" v="6170" actId="13926"/>
        <pc:sldMkLst>
          <pc:docMk/>
          <pc:sldMk cId="1701791592" sldId="2147481236"/>
        </pc:sldMkLst>
      </pc:sldChg>
      <pc:sldChg chg="modSp add mod">
        <pc:chgData name="Jesper Løffler Nielsen" userId="0b8ccd23-76ae-4798-9434-19a993c8eec6" providerId="ADAL" clId="{8F30BD79-B460-4CF0-BCF9-AE9EE3BA1FA5}" dt="2025-08-19T10:37:15.939" v="5589" actId="20577"/>
        <pc:sldMkLst>
          <pc:docMk/>
          <pc:sldMk cId="1457447185" sldId="2147481237"/>
        </pc:sldMkLst>
      </pc:sldChg>
      <pc:sldMasterChg chg="del delSldLayout">
        <pc:chgData name="Jesper Løffler Nielsen" userId="0b8ccd23-76ae-4798-9434-19a993c8eec6" providerId="ADAL" clId="{8F30BD79-B460-4CF0-BCF9-AE9EE3BA1FA5}" dt="2025-08-18T05:57:57.873" v="850" actId="47"/>
        <pc:sldMasterMkLst>
          <pc:docMk/>
          <pc:sldMasterMk cId="26419248" sldId="2147483731"/>
        </pc:sldMasterMkLst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556020910" sldId="2147483732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3650815175" sldId="2147483733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1601837053" sldId="2147483734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4292272464" sldId="2147483735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2612316385" sldId="2147483736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2971255412" sldId="2147483737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2088696314" sldId="2147483738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1163569848" sldId="2147483739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2116199260" sldId="2147483740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3043033156" sldId="2147483741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2266842439" sldId="2147483742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1528949970" sldId="2147483743"/>
          </pc:sldLayoutMkLst>
        </pc:sldLayoutChg>
        <pc:sldLayoutChg chg="del">
          <pc:chgData name="Jesper Løffler Nielsen" userId="0b8ccd23-76ae-4798-9434-19a993c8eec6" providerId="ADAL" clId="{8F30BD79-B460-4CF0-BCF9-AE9EE3BA1FA5}" dt="2025-08-18T05:57:57.873" v="850" actId="47"/>
          <pc:sldLayoutMkLst>
            <pc:docMk/>
            <pc:sldMasterMk cId="26419248" sldId="2147483731"/>
            <pc:sldLayoutMk cId="1065375117" sldId="2147483744"/>
          </pc:sldLayoutMkLst>
        </pc:sldLayoutChg>
      </pc:sldMasterChg>
    </pc:docChg>
  </pc:docChgLst>
  <pc:docChgLst>
    <pc:chgData name="Jesper Løffler Nielsen" userId="0b8ccd23-76ae-4798-9434-19a993c8eec6" providerId="ADAL" clId="{CAE2B06D-9D80-4C86-8281-6599F250591F}"/>
    <pc:docChg chg="undo custSel modSld">
      <pc:chgData name="Jesper Løffler Nielsen" userId="0b8ccd23-76ae-4798-9434-19a993c8eec6" providerId="ADAL" clId="{CAE2B06D-9D80-4C86-8281-6599F250591F}" dt="2025-08-21T04:54:08.889" v="548" actId="1076"/>
      <pc:docMkLst>
        <pc:docMk/>
      </pc:docMkLst>
      <pc:sldChg chg="modSp mod">
        <pc:chgData name="Jesper Løffler Nielsen" userId="0b8ccd23-76ae-4798-9434-19a993c8eec6" providerId="ADAL" clId="{CAE2B06D-9D80-4C86-8281-6599F250591F}" dt="2025-08-21T04:47:55.949" v="181" actId="20577"/>
        <pc:sldMkLst>
          <pc:docMk/>
          <pc:sldMk cId="2160611965" sldId="2147481230"/>
        </pc:sldMkLst>
      </pc:sldChg>
      <pc:sldChg chg="modSp mod">
        <pc:chgData name="Jesper Løffler Nielsen" userId="0b8ccd23-76ae-4798-9434-19a993c8eec6" providerId="ADAL" clId="{CAE2B06D-9D80-4C86-8281-6599F250591F}" dt="2025-08-21T04:54:08.889" v="548" actId="1076"/>
        <pc:sldMkLst>
          <pc:docMk/>
          <pc:sldMk cId="2775902625" sldId="2147481233"/>
        </pc:sldMkLst>
      </pc:sldChg>
      <pc:sldChg chg="modSp mod">
        <pc:chgData name="Jesper Løffler Nielsen" userId="0b8ccd23-76ae-4798-9434-19a993c8eec6" providerId="ADAL" clId="{CAE2B06D-9D80-4C86-8281-6599F250591F}" dt="2025-08-21T04:54:00.315" v="547" actId="207"/>
        <pc:sldMkLst>
          <pc:docMk/>
          <pc:sldMk cId="218947619" sldId="2147481234"/>
        </pc:sldMkLst>
      </pc:sldChg>
    </pc:docChg>
  </pc:docChgLst>
  <pc:docChgLst>
    <pc:chgData name="Jesper Løffler Nielsen" userId="0b8ccd23-76ae-4798-9434-19a993c8eec6" providerId="ADAL" clId="{EB5951B9-490D-4F7C-AEC2-2B668D88D2E0}"/>
    <pc:docChg chg="undo custSel addSld delSld modSld sldOrd delMainMaster">
      <pc:chgData name="Jesper Løffler Nielsen" userId="0b8ccd23-76ae-4798-9434-19a993c8eec6" providerId="ADAL" clId="{EB5951B9-490D-4F7C-AEC2-2B668D88D2E0}" dt="2025-07-17T07:10:24.497" v="745" actId="20577"/>
      <pc:docMkLst>
        <pc:docMk/>
      </pc:docMkLst>
      <pc:sldChg chg="del">
        <pc:chgData name="Jesper Løffler Nielsen" userId="0b8ccd23-76ae-4798-9434-19a993c8eec6" providerId="ADAL" clId="{EB5951B9-490D-4F7C-AEC2-2B668D88D2E0}" dt="2025-07-04T06:57:56.773" v="15" actId="47"/>
        <pc:sldMkLst>
          <pc:docMk/>
          <pc:sldMk cId="3492444384" sldId="260"/>
        </pc:sldMkLst>
      </pc:sldChg>
      <pc:sldChg chg="modSp mod">
        <pc:chgData name="Jesper Løffler Nielsen" userId="0b8ccd23-76ae-4798-9434-19a993c8eec6" providerId="ADAL" clId="{EB5951B9-490D-4F7C-AEC2-2B668D88D2E0}" dt="2025-07-17T07:00:25.718" v="84" actId="20577"/>
        <pc:sldMkLst>
          <pc:docMk/>
          <pc:sldMk cId="1334124051" sldId="300"/>
        </pc:sldMkLst>
      </pc:sldChg>
      <pc:sldChg chg="del">
        <pc:chgData name="Jesper Løffler Nielsen" userId="0b8ccd23-76ae-4798-9434-19a993c8eec6" providerId="ADAL" clId="{EB5951B9-490D-4F7C-AEC2-2B668D88D2E0}" dt="2025-07-04T06:56:40.541" v="2" actId="47"/>
        <pc:sldMkLst>
          <pc:docMk/>
          <pc:sldMk cId="3165424414" sldId="353"/>
        </pc:sldMkLst>
      </pc:sldChg>
      <pc:sldChg chg="del">
        <pc:chgData name="Jesper Løffler Nielsen" userId="0b8ccd23-76ae-4798-9434-19a993c8eec6" providerId="ADAL" clId="{EB5951B9-490D-4F7C-AEC2-2B668D88D2E0}" dt="2025-07-04T06:56:41.292" v="3" actId="47"/>
        <pc:sldMkLst>
          <pc:docMk/>
          <pc:sldMk cId="971484264" sldId="357"/>
        </pc:sldMkLst>
      </pc:sldChg>
      <pc:sldChg chg="add">
        <pc:chgData name="Jesper Løffler Nielsen" userId="0b8ccd23-76ae-4798-9434-19a993c8eec6" providerId="ADAL" clId="{EB5951B9-490D-4F7C-AEC2-2B668D88D2E0}" dt="2025-07-04T07:59:31.115" v="17"/>
        <pc:sldMkLst>
          <pc:docMk/>
          <pc:sldMk cId="1725488584" sldId="588"/>
        </pc:sldMkLst>
      </pc:sldChg>
      <pc:sldChg chg="modSp mod">
        <pc:chgData name="Jesper Løffler Nielsen" userId="0b8ccd23-76ae-4798-9434-19a993c8eec6" providerId="ADAL" clId="{EB5951B9-490D-4F7C-AEC2-2B668D88D2E0}" dt="2025-07-17T07:03:26.170" v="302" actId="20577"/>
        <pc:sldMkLst>
          <pc:docMk/>
          <pc:sldMk cId="2103022855" sldId="899"/>
        </pc:sldMkLst>
      </pc:sldChg>
      <pc:sldChg chg="del">
        <pc:chgData name="Jesper Løffler Nielsen" userId="0b8ccd23-76ae-4798-9434-19a993c8eec6" providerId="ADAL" clId="{EB5951B9-490D-4F7C-AEC2-2B668D88D2E0}" dt="2025-07-04T06:57:37.185" v="13" actId="47"/>
        <pc:sldMkLst>
          <pc:docMk/>
          <pc:sldMk cId="347468193" sldId="1313"/>
        </pc:sldMkLst>
      </pc:sldChg>
      <pc:sldChg chg="addSp delSp modSp add del mod ord">
        <pc:chgData name="Jesper Løffler Nielsen" userId="0b8ccd23-76ae-4798-9434-19a993c8eec6" providerId="ADAL" clId="{EB5951B9-490D-4F7C-AEC2-2B668D88D2E0}" dt="2025-07-17T07:05:51.544" v="382" actId="47"/>
        <pc:sldMkLst>
          <pc:docMk/>
          <pc:sldMk cId="3432079983" sldId="1437"/>
        </pc:sldMkLst>
      </pc:sldChg>
      <pc:sldChg chg="modSp add mod">
        <pc:chgData name="Jesper Løffler Nielsen" userId="0b8ccd23-76ae-4798-9434-19a993c8eec6" providerId="ADAL" clId="{EB5951B9-490D-4F7C-AEC2-2B668D88D2E0}" dt="2025-07-17T07:05:36.891" v="381" actId="27636"/>
        <pc:sldMkLst>
          <pc:docMk/>
          <pc:sldMk cId="2432222595" sldId="3818"/>
        </pc:sldMkLst>
      </pc:sldChg>
      <pc:sldChg chg="add">
        <pc:chgData name="Jesper Løffler Nielsen" userId="0b8ccd23-76ae-4798-9434-19a993c8eec6" providerId="ADAL" clId="{EB5951B9-490D-4F7C-AEC2-2B668D88D2E0}" dt="2025-07-04T07:59:31.115" v="17"/>
        <pc:sldMkLst>
          <pc:docMk/>
          <pc:sldMk cId="1996763023" sldId="3822"/>
        </pc:sldMkLst>
      </pc:sldChg>
      <pc:sldChg chg="del">
        <pc:chgData name="Jesper Løffler Nielsen" userId="0b8ccd23-76ae-4798-9434-19a993c8eec6" providerId="ADAL" clId="{EB5951B9-490D-4F7C-AEC2-2B668D88D2E0}" dt="2025-07-17T07:02:58.001" v="279" actId="2696"/>
        <pc:sldMkLst>
          <pc:docMk/>
          <pc:sldMk cId="152122601" sldId="3980"/>
        </pc:sldMkLst>
      </pc:sldChg>
      <pc:sldChg chg="add del">
        <pc:chgData name="Jesper Løffler Nielsen" userId="0b8ccd23-76ae-4798-9434-19a993c8eec6" providerId="ADAL" clId="{EB5951B9-490D-4F7C-AEC2-2B668D88D2E0}" dt="2025-07-17T07:03:41.647" v="303" actId="2696"/>
        <pc:sldMkLst>
          <pc:docMk/>
          <pc:sldMk cId="2133429689" sldId="3980"/>
        </pc:sldMkLst>
      </pc:sldChg>
      <pc:sldChg chg="add">
        <pc:chgData name="Jesper Løffler Nielsen" userId="0b8ccd23-76ae-4798-9434-19a993c8eec6" providerId="ADAL" clId="{EB5951B9-490D-4F7C-AEC2-2B668D88D2E0}" dt="2025-07-17T07:03:46.577" v="304"/>
        <pc:sldMkLst>
          <pc:docMk/>
          <pc:sldMk cId="2510843127" sldId="3980"/>
        </pc:sldMkLst>
      </pc:sldChg>
      <pc:sldChg chg="add del">
        <pc:chgData name="Jesper Løffler Nielsen" userId="0b8ccd23-76ae-4798-9434-19a993c8eec6" providerId="ADAL" clId="{EB5951B9-490D-4F7C-AEC2-2B668D88D2E0}" dt="2025-07-17T07:05:57.371" v="383" actId="2696"/>
        <pc:sldMkLst>
          <pc:docMk/>
          <pc:sldMk cId="44012349" sldId="4012"/>
        </pc:sldMkLst>
      </pc:sldChg>
      <pc:sldChg chg="add del">
        <pc:chgData name="Jesper Løffler Nielsen" userId="0b8ccd23-76ae-4798-9434-19a993c8eec6" providerId="ADAL" clId="{EB5951B9-490D-4F7C-AEC2-2B668D88D2E0}" dt="2025-07-17T07:06:11.137" v="385" actId="47"/>
        <pc:sldMkLst>
          <pc:docMk/>
          <pc:sldMk cId="3577153209" sldId="4012"/>
        </pc:sldMkLst>
      </pc:sldChg>
      <pc:sldChg chg="add">
        <pc:chgData name="Jesper Løffler Nielsen" userId="0b8ccd23-76ae-4798-9434-19a993c8eec6" providerId="ADAL" clId="{EB5951B9-490D-4F7C-AEC2-2B668D88D2E0}" dt="2025-07-17T07:00:36.636" v="88"/>
        <pc:sldMkLst>
          <pc:docMk/>
          <pc:sldMk cId="292540370" sldId="4251"/>
        </pc:sldMkLst>
      </pc:sldChg>
      <pc:sldChg chg="del">
        <pc:chgData name="Jesper Løffler Nielsen" userId="0b8ccd23-76ae-4798-9434-19a993c8eec6" providerId="ADAL" clId="{EB5951B9-490D-4F7C-AEC2-2B668D88D2E0}" dt="2025-07-17T07:00:33.743" v="87" actId="2696"/>
        <pc:sldMkLst>
          <pc:docMk/>
          <pc:sldMk cId="762932402" sldId="4251"/>
        </pc:sldMkLst>
      </pc:sldChg>
      <pc:sldChg chg="modSp mod">
        <pc:chgData name="Jesper Løffler Nielsen" userId="0b8ccd23-76ae-4798-9434-19a993c8eec6" providerId="ADAL" clId="{EB5951B9-490D-4F7C-AEC2-2B668D88D2E0}" dt="2025-07-17T07:10:24.497" v="745" actId="20577"/>
        <pc:sldMkLst>
          <pc:docMk/>
          <pc:sldMk cId="3076587489" sldId="2147477366"/>
        </pc:sldMkLst>
      </pc:sldChg>
      <pc:sldChg chg="del">
        <pc:chgData name="Jesper Løffler Nielsen" userId="0b8ccd23-76ae-4798-9434-19a993c8eec6" providerId="ADAL" clId="{EB5951B9-490D-4F7C-AEC2-2B668D88D2E0}" dt="2025-07-04T06:57:32.619" v="11" actId="47"/>
        <pc:sldMkLst>
          <pc:docMk/>
          <pc:sldMk cId="363088448" sldId="2147477432"/>
        </pc:sldMkLst>
      </pc:sldChg>
      <pc:sldChg chg="del">
        <pc:chgData name="Jesper Løffler Nielsen" userId="0b8ccd23-76ae-4798-9434-19a993c8eec6" providerId="ADAL" clId="{EB5951B9-490D-4F7C-AEC2-2B668D88D2E0}" dt="2025-07-04T06:57:35.618" v="12" actId="47"/>
        <pc:sldMkLst>
          <pc:docMk/>
          <pc:sldMk cId="4088097447" sldId="2147477433"/>
        </pc:sldMkLst>
      </pc:sldChg>
      <pc:sldChg chg="del ord">
        <pc:chgData name="Jesper Løffler Nielsen" userId="0b8ccd23-76ae-4798-9434-19a993c8eec6" providerId="ADAL" clId="{EB5951B9-490D-4F7C-AEC2-2B668D88D2E0}" dt="2025-07-17T07:02:58.001" v="279" actId="2696"/>
        <pc:sldMkLst>
          <pc:docMk/>
          <pc:sldMk cId="1612381192" sldId="2147477463"/>
        </pc:sldMkLst>
      </pc:sldChg>
      <pc:sldChg chg="add">
        <pc:chgData name="Jesper Løffler Nielsen" userId="0b8ccd23-76ae-4798-9434-19a993c8eec6" providerId="ADAL" clId="{EB5951B9-490D-4F7C-AEC2-2B668D88D2E0}" dt="2025-07-17T07:03:03.434" v="280"/>
        <pc:sldMkLst>
          <pc:docMk/>
          <pc:sldMk cId="3653270299" sldId="2147477463"/>
        </pc:sldMkLst>
      </pc:sldChg>
      <pc:sldChg chg="modSp add del mod">
        <pc:chgData name="Jesper Løffler Nielsen" userId="0b8ccd23-76ae-4798-9434-19a993c8eec6" providerId="ADAL" clId="{EB5951B9-490D-4F7C-AEC2-2B668D88D2E0}" dt="2025-07-04T07:59:53.380" v="19" actId="47"/>
        <pc:sldMkLst>
          <pc:docMk/>
          <pc:sldMk cId="2402882356" sldId="2147477468"/>
        </pc:sldMkLst>
      </pc:sldChg>
      <pc:sldChg chg="del ord">
        <pc:chgData name="Jesper Løffler Nielsen" userId="0b8ccd23-76ae-4798-9434-19a993c8eec6" providerId="ADAL" clId="{EB5951B9-490D-4F7C-AEC2-2B668D88D2E0}" dt="2025-07-17T07:00:33.743" v="87" actId="2696"/>
        <pc:sldMkLst>
          <pc:docMk/>
          <pc:sldMk cId="2296185401" sldId="2147477514"/>
        </pc:sldMkLst>
      </pc:sldChg>
      <pc:sldChg chg="add">
        <pc:chgData name="Jesper Løffler Nielsen" userId="0b8ccd23-76ae-4798-9434-19a993c8eec6" providerId="ADAL" clId="{EB5951B9-490D-4F7C-AEC2-2B668D88D2E0}" dt="2025-07-17T07:00:36.636" v="88"/>
        <pc:sldMkLst>
          <pc:docMk/>
          <pc:sldMk cId="4100556535" sldId="2147477514"/>
        </pc:sldMkLst>
      </pc:sldChg>
      <pc:sldChg chg="del">
        <pc:chgData name="Jesper Løffler Nielsen" userId="0b8ccd23-76ae-4798-9434-19a993c8eec6" providerId="ADAL" clId="{EB5951B9-490D-4F7C-AEC2-2B668D88D2E0}" dt="2025-07-04T06:56:45.589" v="5" actId="47"/>
        <pc:sldMkLst>
          <pc:docMk/>
          <pc:sldMk cId="3005050775" sldId="2147480961"/>
        </pc:sldMkLst>
      </pc:sldChg>
      <pc:sldChg chg="del">
        <pc:chgData name="Jesper Løffler Nielsen" userId="0b8ccd23-76ae-4798-9434-19a993c8eec6" providerId="ADAL" clId="{EB5951B9-490D-4F7C-AEC2-2B668D88D2E0}" dt="2025-07-04T06:57:00.317" v="6" actId="47"/>
        <pc:sldMkLst>
          <pc:docMk/>
          <pc:sldMk cId="3498304148" sldId="2147480962"/>
        </pc:sldMkLst>
      </pc:sldChg>
      <pc:sldChg chg="modSp mod">
        <pc:chgData name="Jesper Løffler Nielsen" userId="0b8ccd23-76ae-4798-9434-19a993c8eec6" providerId="ADAL" clId="{EB5951B9-490D-4F7C-AEC2-2B668D88D2E0}" dt="2025-07-17T07:04:25.585" v="334" actId="20577"/>
        <pc:sldMkLst>
          <pc:docMk/>
          <pc:sldMk cId="995264054" sldId="2147481106"/>
        </pc:sldMkLst>
      </pc:sldChg>
      <pc:sldChg chg="add del">
        <pc:chgData name="Jesper Løffler Nielsen" userId="0b8ccd23-76ae-4798-9434-19a993c8eec6" providerId="ADAL" clId="{EB5951B9-490D-4F7C-AEC2-2B668D88D2E0}" dt="2025-07-04T06:57:28.579" v="10" actId="47"/>
        <pc:sldMkLst>
          <pc:docMk/>
          <pc:sldMk cId="423756729" sldId="2147481112"/>
        </pc:sldMkLst>
      </pc:sldChg>
      <pc:sldChg chg="modSp mod">
        <pc:chgData name="Jesper Løffler Nielsen" userId="0b8ccd23-76ae-4798-9434-19a993c8eec6" providerId="ADAL" clId="{EB5951B9-490D-4F7C-AEC2-2B668D88D2E0}" dt="2025-07-17T07:02:44.686" v="276" actId="20577"/>
        <pc:sldMkLst>
          <pc:docMk/>
          <pc:sldMk cId="403724779" sldId="2147481131"/>
        </pc:sldMkLst>
      </pc:sldChg>
      <pc:sldChg chg="del">
        <pc:chgData name="Jesper Løffler Nielsen" userId="0b8ccd23-76ae-4798-9434-19a993c8eec6" providerId="ADAL" clId="{EB5951B9-490D-4F7C-AEC2-2B668D88D2E0}" dt="2025-07-04T06:57:38.248" v="14" actId="47"/>
        <pc:sldMkLst>
          <pc:docMk/>
          <pc:sldMk cId="3038760631" sldId="2147481138"/>
        </pc:sldMkLst>
      </pc:sldChg>
      <pc:sldChg chg="del">
        <pc:chgData name="Jesper Løffler Nielsen" userId="0b8ccd23-76ae-4798-9434-19a993c8eec6" providerId="ADAL" clId="{EB5951B9-490D-4F7C-AEC2-2B668D88D2E0}" dt="2025-07-04T06:56:43.046" v="4" actId="47"/>
        <pc:sldMkLst>
          <pc:docMk/>
          <pc:sldMk cId="3384792649" sldId="2147481153"/>
        </pc:sldMkLst>
      </pc:sldChg>
      <pc:sldChg chg="del">
        <pc:chgData name="Jesper Løffler Nielsen" userId="0b8ccd23-76ae-4798-9434-19a993c8eec6" providerId="ADAL" clId="{EB5951B9-490D-4F7C-AEC2-2B668D88D2E0}" dt="2025-07-04T06:56:27.606" v="1" actId="47"/>
        <pc:sldMkLst>
          <pc:docMk/>
          <pc:sldMk cId="1081031560" sldId="2147481159"/>
        </pc:sldMkLst>
      </pc:sldChg>
      <pc:sldChg chg="del">
        <pc:chgData name="Jesper Løffler Nielsen" userId="0b8ccd23-76ae-4798-9434-19a993c8eec6" providerId="ADAL" clId="{EB5951B9-490D-4F7C-AEC2-2B668D88D2E0}" dt="2025-07-17T07:02:58.001" v="279" actId="2696"/>
        <pc:sldMkLst>
          <pc:docMk/>
          <pc:sldMk cId="3461656143" sldId="2147481161"/>
        </pc:sldMkLst>
      </pc:sldChg>
      <pc:sldChg chg="add">
        <pc:chgData name="Jesper Løffler Nielsen" userId="0b8ccd23-76ae-4798-9434-19a993c8eec6" providerId="ADAL" clId="{EB5951B9-490D-4F7C-AEC2-2B668D88D2E0}" dt="2025-07-17T07:03:03.434" v="280"/>
        <pc:sldMkLst>
          <pc:docMk/>
          <pc:sldMk cId="4205648985" sldId="2147481161"/>
        </pc:sldMkLst>
      </pc:sldChg>
      <pc:sldChg chg="del">
        <pc:chgData name="Jesper Løffler Nielsen" userId="0b8ccd23-76ae-4798-9434-19a993c8eec6" providerId="ADAL" clId="{EB5951B9-490D-4F7C-AEC2-2B668D88D2E0}" dt="2025-07-04T06:56:24.595" v="0" actId="47"/>
        <pc:sldMkLst>
          <pc:docMk/>
          <pc:sldMk cId="22134981" sldId="2147481162"/>
        </pc:sldMkLst>
      </pc:sldChg>
      <pc:sldChg chg="del">
        <pc:chgData name="Jesper Løffler Nielsen" userId="0b8ccd23-76ae-4798-9434-19a993c8eec6" providerId="ADAL" clId="{EB5951B9-490D-4F7C-AEC2-2B668D88D2E0}" dt="2025-07-17T07:05:17.976" v="351" actId="47"/>
        <pc:sldMkLst>
          <pc:docMk/>
          <pc:sldMk cId="1514837414" sldId="2147481179"/>
        </pc:sldMkLst>
      </pc:sldChg>
      <pc:sldChg chg="del">
        <pc:chgData name="Jesper Løffler Nielsen" userId="0b8ccd23-76ae-4798-9434-19a993c8eec6" providerId="ADAL" clId="{EB5951B9-490D-4F7C-AEC2-2B668D88D2E0}" dt="2025-07-17T07:05:20.116" v="352" actId="47"/>
        <pc:sldMkLst>
          <pc:docMk/>
          <pc:sldMk cId="2957187321" sldId="2147481185"/>
        </pc:sldMkLst>
      </pc:sldChg>
      <pc:sldChg chg="del">
        <pc:chgData name="Jesper Løffler Nielsen" userId="0b8ccd23-76ae-4798-9434-19a993c8eec6" providerId="ADAL" clId="{EB5951B9-490D-4F7C-AEC2-2B668D88D2E0}" dt="2025-07-04T06:57:14.814" v="7" actId="47"/>
        <pc:sldMkLst>
          <pc:docMk/>
          <pc:sldMk cId="1853679578" sldId="2147481186"/>
        </pc:sldMkLst>
      </pc:sldChg>
      <pc:sldChg chg="modSp mod">
        <pc:chgData name="Jesper Løffler Nielsen" userId="0b8ccd23-76ae-4798-9434-19a993c8eec6" providerId="ADAL" clId="{EB5951B9-490D-4F7C-AEC2-2B668D88D2E0}" dt="2025-07-17T07:06:26.400" v="397" actId="20577"/>
        <pc:sldMkLst>
          <pc:docMk/>
          <pc:sldMk cId="4184378897" sldId="2147481187"/>
        </pc:sldMkLst>
      </pc:sldChg>
      <pc:sldChg chg="add del">
        <pc:chgData name="Jesper Løffler Nielsen" userId="0b8ccd23-76ae-4798-9434-19a993c8eec6" providerId="ADAL" clId="{EB5951B9-490D-4F7C-AEC2-2B668D88D2E0}" dt="2025-07-04T07:59:53.380" v="19" actId="47"/>
        <pc:sldMkLst>
          <pc:docMk/>
          <pc:sldMk cId="319565346" sldId="2147481188"/>
        </pc:sldMkLst>
      </pc:sldChg>
      <pc:sldChg chg="modSp add mod">
        <pc:chgData name="Jesper Løffler Nielsen" userId="0b8ccd23-76ae-4798-9434-19a993c8eec6" providerId="ADAL" clId="{EB5951B9-490D-4F7C-AEC2-2B668D88D2E0}" dt="2025-07-17T07:02:11.370" v="258" actId="20577"/>
        <pc:sldMkLst>
          <pc:docMk/>
          <pc:sldMk cId="1553919356" sldId="2147481188"/>
        </pc:sldMkLst>
      </pc:sldChg>
      <pc:sldChg chg="del">
        <pc:chgData name="Jesper Løffler Nielsen" userId="0b8ccd23-76ae-4798-9434-19a993c8eec6" providerId="ADAL" clId="{EB5951B9-490D-4F7C-AEC2-2B668D88D2E0}" dt="2025-07-04T06:57:57.998" v="16" actId="47"/>
        <pc:sldMkLst>
          <pc:docMk/>
          <pc:sldMk cId="4142213477" sldId="2147481188"/>
        </pc:sldMkLst>
      </pc:sldChg>
      <pc:sldChg chg="add del">
        <pc:chgData name="Jesper Løffler Nielsen" userId="0b8ccd23-76ae-4798-9434-19a993c8eec6" providerId="ADAL" clId="{EB5951B9-490D-4F7C-AEC2-2B668D88D2E0}" dt="2025-07-04T07:59:53.380" v="19" actId="47"/>
        <pc:sldMkLst>
          <pc:docMk/>
          <pc:sldMk cId="4152256823" sldId="2147481189"/>
        </pc:sldMkLst>
      </pc:sldChg>
      <pc:sldChg chg="add del">
        <pc:chgData name="Jesper Løffler Nielsen" userId="0b8ccd23-76ae-4798-9434-19a993c8eec6" providerId="ADAL" clId="{EB5951B9-490D-4F7C-AEC2-2B668D88D2E0}" dt="2025-07-04T07:59:53.380" v="19" actId="47"/>
        <pc:sldMkLst>
          <pc:docMk/>
          <pc:sldMk cId="1040753689" sldId="2147481190"/>
        </pc:sldMkLst>
      </pc:sldChg>
      <pc:sldChg chg="add del">
        <pc:chgData name="Jesper Løffler Nielsen" userId="0b8ccd23-76ae-4798-9434-19a993c8eec6" providerId="ADAL" clId="{EB5951B9-490D-4F7C-AEC2-2B668D88D2E0}" dt="2025-07-04T07:59:53.380" v="19" actId="47"/>
        <pc:sldMkLst>
          <pc:docMk/>
          <pc:sldMk cId="3556212946" sldId="2147481191"/>
        </pc:sldMkLst>
      </pc:sldChg>
      <pc:sldChg chg="add del">
        <pc:chgData name="Jesper Løffler Nielsen" userId="0b8ccd23-76ae-4798-9434-19a993c8eec6" providerId="ADAL" clId="{EB5951B9-490D-4F7C-AEC2-2B668D88D2E0}" dt="2025-07-17T07:04:33.013" v="335" actId="47"/>
        <pc:sldMkLst>
          <pc:docMk/>
          <pc:sldMk cId="3634832566" sldId="2147481191"/>
        </pc:sldMkLst>
      </pc:sldChg>
      <pc:sldChg chg="add del">
        <pc:chgData name="Jesper Løffler Nielsen" userId="0b8ccd23-76ae-4798-9434-19a993c8eec6" providerId="ADAL" clId="{EB5951B9-490D-4F7C-AEC2-2B668D88D2E0}" dt="2025-07-17T07:04:36.455" v="336" actId="47"/>
        <pc:sldMkLst>
          <pc:docMk/>
          <pc:sldMk cId="1623644258" sldId="2147481192"/>
        </pc:sldMkLst>
      </pc:sldChg>
      <pc:sldChg chg="add ord">
        <pc:chgData name="Jesper Løffler Nielsen" userId="0b8ccd23-76ae-4798-9434-19a993c8eec6" providerId="ADAL" clId="{EB5951B9-490D-4F7C-AEC2-2B668D88D2E0}" dt="2025-07-17T07:02:28.421" v="261"/>
        <pc:sldMkLst>
          <pc:docMk/>
          <pc:sldMk cId="1752013018" sldId="2147481195"/>
        </pc:sldMkLst>
      </pc:sldChg>
      <pc:sldChg chg="add">
        <pc:chgData name="Jesper Løffler Nielsen" userId="0b8ccd23-76ae-4798-9434-19a993c8eec6" providerId="ADAL" clId="{EB5951B9-490D-4F7C-AEC2-2B668D88D2E0}" dt="2025-07-17T07:04:11.231" v="305"/>
        <pc:sldMkLst>
          <pc:docMk/>
          <pc:sldMk cId="1244103501" sldId="2147481196"/>
        </pc:sldMkLst>
      </pc:sldChg>
      <pc:sldChg chg="add del">
        <pc:chgData name="Jesper Løffler Nielsen" userId="0b8ccd23-76ae-4798-9434-19a993c8eec6" providerId="ADAL" clId="{EB5951B9-490D-4F7C-AEC2-2B668D88D2E0}" dt="2025-07-17T07:04:39.385" v="337" actId="47"/>
        <pc:sldMkLst>
          <pc:docMk/>
          <pc:sldMk cId="1863973654" sldId="2147481197"/>
        </pc:sldMkLst>
      </pc:sldChg>
      <pc:sldChg chg="add del">
        <pc:chgData name="Jesper Løffler Nielsen" userId="0b8ccd23-76ae-4798-9434-19a993c8eec6" providerId="ADAL" clId="{EB5951B9-490D-4F7C-AEC2-2B668D88D2E0}" dt="2025-07-17T07:04:44.705" v="341" actId="47"/>
        <pc:sldMkLst>
          <pc:docMk/>
          <pc:sldMk cId="39624529" sldId="2147481198"/>
        </pc:sldMkLst>
      </pc:sldChg>
      <pc:sldChg chg="add">
        <pc:chgData name="Jesper Løffler Nielsen" userId="0b8ccd23-76ae-4798-9434-19a993c8eec6" providerId="ADAL" clId="{EB5951B9-490D-4F7C-AEC2-2B668D88D2E0}" dt="2025-07-17T07:04:11.231" v="305"/>
        <pc:sldMkLst>
          <pc:docMk/>
          <pc:sldMk cId="3968860306" sldId="2147481201"/>
        </pc:sldMkLst>
      </pc:sldChg>
      <pc:sldChg chg="add del">
        <pc:chgData name="Jesper Løffler Nielsen" userId="0b8ccd23-76ae-4798-9434-19a993c8eec6" providerId="ADAL" clId="{EB5951B9-490D-4F7C-AEC2-2B668D88D2E0}" dt="2025-07-17T07:04:48.264" v="342" actId="47"/>
        <pc:sldMkLst>
          <pc:docMk/>
          <pc:sldMk cId="3281602013" sldId="2147481202"/>
        </pc:sldMkLst>
      </pc:sldChg>
      <pc:sldChg chg="add del">
        <pc:chgData name="Jesper Løffler Nielsen" userId="0b8ccd23-76ae-4798-9434-19a993c8eec6" providerId="ADAL" clId="{EB5951B9-490D-4F7C-AEC2-2B668D88D2E0}" dt="2025-07-17T07:04:54.890" v="345" actId="47"/>
        <pc:sldMkLst>
          <pc:docMk/>
          <pc:sldMk cId="320022598" sldId="2147481203"/>
        </pc:sldMkLst>
      </pc:sldChg>
      <pc:sldChg chg="add del">
        <pc:chgData name="Jesper Løffler Nielsen" userId="0b8ccd23-76ae-4798-9434-19a993c8eec6" providerId="ADAL" clId="{EB5951B9-490D-4F7C-AEC2-2B668D88D2E0}" dt="2025-07-17T07:04:50.391" v="343" actId="47"/>
        <pc:sldMkLst>
          <pc:docMk/>
          <pc:sldMk cId="2640812578" sldId="2147481205"/>
        </pc:sldMkLst>
      </pc:sldChg>
      <pc:sldChg chg="add del">
        <pc:chgData name="Jesper Løffler Nielsen" userId="0b8ccd23-76ae-4798-9434-19a993c8eec6" providerId="ADAL" clId="{EB5951B9-490D-4F7C-AEC2-2B668D88D2E0}" dt="2025-07-17T07:04:50.965" v="344" actId="47"/>
        <pc:sldMkLst>
          <pc:docMk/>
          <pc:sldMk cId="2826705066" sldId="2147481208"/>
        </pc:sldMkLst>
      </pc:sldChg>
      <pc:sldChg chg="add del">
        <pc:chgData name="Jesper Løffler Nielsen" userId="0b8ccd23-76ae-4798-9434-19a993c8eec6" providerId="ADAL" clId="{EB5951B9-490D-4F7C-AEC2-2B668D88D2E0}" dt="2025-07-17T07:04:56.753" v="346" actId="47"/>
        <pc:sldMkLst>
          <pc:docMk/>
          <pc:sldMk cId="542732319" sldId="2147481209"/>
        </pc:sldMkLst>
      </pc:sldChg>
      <pc:sldChg chg="add del">
        <pc:chgData name="Jesper Løffler Nielsen" userId="0b8ccd23-76ae-4798-9434-19a993c8eec6" providerId="ADAL" clId="{EB5951B9-490D-4F7C-AEC2-2B668D88D2E0}" dt="2025-07-17T07:04:57.776" v="347" actId="47"/>
        <pc:sldMkLst>
          <pc:docMk/>
          <pc:sldMk cId="773922063" sldId="2147481210"/>
        </pc:sldMkLst>
      </pc:sldChg>
      <pc:sldChg chg="add del">
        <pc:chgData name="Jesper Løffler Nielsen" userId="0b8ccd23-76ae-4798-9434-19a993c8eec6" providerId="ADAL" clId="{EB5951B9-490D-4F7C-AEC2-2B668D88D2E0}" dt="2025-07-17T07:04:58.231" v="348" actId="47"/>
        <pc:sldMkLst>
          <pc:docMk/>
          <pc:sldMk cId="3201891048" sldId="2147481212"/>
        </pc:sldMkLst>
      </pc:sldChg>
      <pc:sldChg chg="add del">
        <pc:chgData name="Jesper Løffler Nielsen" userId="0b8ccd23-76ae-4798-9434-19a993c8eec6" providerId="ADAL" clId="{EB5951B9-490D-4F7C-AEC2-2B668D88D2E0}" dt="2025-07-17T07:04:59.642" v="349" actId="47"/>
        <pc:sldMkLst>
          <pc:docMk/>
          <pc:sldMk cId="3187023326" sldId="2147481213"/>
        </pc:sldMkLst>
      </pc:sldChg>
      <pc:sldChg chg="addSp modSp add">
        <pc:chgData name="Jesper Løffler Nielsen" userId="0b8ccd23-76ae-4798-9434-19a993c8eec6" providerId="ADAL" clId="{EB5951B9-490D-4F7C-AEC2-2B668D88D2E0}" dt="2025-07-17T07:06:37.138" v="398"/>
        <pc:sldMkLst>
          <pc:docMk/>
          <pc:sldMk cId="721548389" sldId="2147481215"/>
        </pc:sldMkLst>
      </pc:sldChg>
      <pc:sldChg chg="add del">
        <pc:chgData name="Jesper Løffler Nielsen" userId="0b8ccd23-76ae-4798-9434-19a993c8eec6" providerId="ADAL" clId="{EB5951B9-490D-4F7C-AEC2-2B668D88D2E0}" dt="2025-07-17T07:04:39.715" v="338" actId="47"/>
        <pc:sldMkLst>
          <pc:docMk/>
          <pc:sldMk cId="966874109" sldId="2147481217"/>
        </pc:sldMkLst>
      </pc:sldChg>
      <pc:sldChg chg="add del">
        <pc:chgData name="Jesper Løffler Nielsen" userId="0b8ccd23-76ae-4798-9434-19a993c8eec6" providerId="ADAL" clId="{EB5951B9-490D-4F7C-AEC2-2B668D88D2E0}" dt="2025-07-17T07:04:40.579" v="339" actId="47"/>
        <pc:sldMkLst>
          <pc:docMk/>
          <pc:sldMk cId="4160220470" sldId="2147481218"/>
        </pc:sldMkLst>
      </pc:sldChg>
      <pc:sldChg chg="add del">
        <pc:chgData name="Jesper Løffler Nielsen" userId="0b8ccd23-76ae-4798-9434-19a993c8eec6" providerId="ADAL" clId="{EB5951B9-490D-4F7C-AEC2-2B668D88D2E0}" dt="2025-07-17T07:04:41.583" v="340" actId="47"/>
        <pc:sldMkLst>
          <pc:docMk/>
          <pc:sldMk cId="1805881880" sldId="2147481219"/>
        </pc:sldMkLst>
      </pc:sldChg>
      <pc:sldChg chg="add del">
        <pc:chgData name="Jesper Løffler Nielsen" userId="0b8ccd23-76ae-4798-9434-19a993c8eec6" providerId="ADAL" clId="{EB5951B9-490D-4F7C-AEC2-2B668D88D2E0}" dt="2025-07-17T07:05:01.917" v="350" actId="47"/>
        <pc:sldMkLst>
          <pc:docMk/>
          <pc:sldMk cId="4147524168" sldId="2147481220"/>
        </pc:sldMkLst>
      </pc:sldChg>
      <pc:sldChg chg="add">
        <pc:chgData name="Jesper Løffler Nielsen" userId="0b8ccd23-76ae-4798-9434-19a993c8eec6" providerId="ADAL" clId="{EB5951B9-490D-4F7C-AEC2-2B668D88D2E0}" dt="2025-07-17T07:04:11.231" v="305"/>
        <pc:sldMkLst>
          <pc:docMk/>
          <pc:sldMk cId="1053516129" sldId="2147481221"/>
        </pc:sldMkLst>
      </pc:sldChg>
      <pc:sldChg chg="add">
        <pc:chgData name="Jesper Løffler Nielsen" userId="0b8ccd23-76ae-4798-9434-19a993c8eec6" providerId="ADAL" clId="{EB5951B9-490D-4F7C-AEC2-2B668D88D2E0}" dt="2025-07-17T07:04:11.231" v="305"/>
        <pc:sldMkLst>
          <pc:docMk/>
          <pc:sldMk cId="2382940435" sldId="2147481222"/>
        </pc:sldMkLst>
      </pc:sldChg>
      <pc:sldChg chg="add">
        <pc:chgData name="Jesper Løffler Nielsen" userId="0b8ccd23-76ae-4798-9434-19a993c8eec6" providerId="ADAL" clId="{EB5951B9-490D-4F7C-AEC2-2B668D88D2E0}" dt="2025-07-17T07:04:11.231" v="305"/>
        <pc:sldMkLst>
          <pc:docMk/>
          <pc:sldMk cId="774787475" sldId="2147481223"/>
        </pc:sldMkLst>
      </pc:sldChg>
      <pc:sldChg chg="modSp add mod">
        <pc:chgData name="Jesper Løffler Nielsen" userId="0b8ccd23-76ae-4798-9434-19a993c8eec6" providerId="ADAL" clId="{EB5951B9-490D-4F7C-AEC2-2B668D88D2E0}" dt="2025-07-17T07:09:31.608" v="741" actId="20577"/>
        <pc:sldMkLst>
          <pc:docMk/>
          <pc:sldMk cId="378217602" sldId="2147481224"/>
        </pc:sldMkLst>
      </pc:sldChg>
      <pc:sldChg chg="modSp add mod">
        <pc:chgData name="Jesper Løffler Nielsen" userId="0b8ccd23-76ae-4798-9434-19a993c8eec6" providerId="ADAL" clId="{EB5951B9-490D-4F7C-AEC2-2B668D88D2E0}" dt="2025-07-17T07:08:22.328" v="608" actId="20577"/>
        <pc:sldMkLst>
          <pc:docMk/>
          <pc:sldMk cId="679019589" sldId="2147481225"/>
        </pc:sldMkLst>
      </pc:sldChg>
      <pc:sldMasterChg chg="delSldLayout">
        <pc:chgData name="Jesper Løffler Nielsen" userId="0b8ccd23-76ae-4798-9434-19a993c8eec6" providerId="ADAL" clId="{EB5951B9-490D-4F7C-AEC2-2B668D88D2E0}" dt="2025-07-04T06:57:14.814" v="7" actId="47"/>
        <pc:sldMasterMkLst>
          <pc:docMk/>
          <pc:sldMasterMk cId="989159396" sldId="2147483673"/>
        </pc:sldMasterMkLst>
        <pc:sldLayoutChg chg="del">
          <pc:chgData name="Jesper Løffler Nielsen" userId="0b8ccd23-76ae-4798-9434-19a993c8eec6" providerId="ADAL" clId="{EB5951B9-490D-4F7C-AEC2-2B668D88D2E0}" dt="2025-07-04T06:56:43.046" v="4" actId="47"/>
          <pc:sldLayoutMkLst>
            <pc:docMk/>
            <pc:sldMasterMk cId="989159396" sldId="2147483673"/>
            <pc:sldLayoutMk cId="1153325074" sldId="2147483716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7:14.814" v="7" actId="47"/>
          <pc:sldLayoutMkLst>
            <pc:docMk/>
            <pc:sldMasterMk cId="989159396" sldId="2147483673"/>
            <pc:sldLayoutMk cId="1665547120" sldId="2147483717"/>
          </pc:sldLayoutMkLst>
        </pc:sldLayoutChg>
      </pc:sldMasterChg>
      <pc:sldMasterChg chg="del delSldLayout">
        <pc:chgData name="Jesper Løffler Nielsen" userId="0b8ccd23-76ae-4798-9434-19a993c8eec6" providerId="ADAL" clId="{EB5951B9-490D-4F7C-AEC2-2B668D88D2E0}" dt="2025-07-04T06:56:24.595" v="0" actId="47"/>
        <pc:sldMasterMkLst>
          <pc:docMk/>
          <pc:sldMasterMk cId="26419248" sldId="2147483833"/>
        </pc:sldMasterMkLst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556020910" sldId="2147483834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3650815175" sldId="2147483835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1601837053" sldId="2147483836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4292272464" sldId="2147483837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2612316385" sldId="2147483838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2971255412" sldId="2147483839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2088696314" sldId="2147483840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1163569848" sldId="2147483841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2116199260" sldId="2147483842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3043033156" sldId="2147483843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2266842439" sldId="2147483844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1528949970" sldId="2147483845"/>
          </pc:sldLayoutMkLst>
        </pc:sldLayoutChg>
        <pc:sldLayoutChg chg="del">
          <pc:chgData name="Jesper Løffler Nielsen" userId="0b8ccd23-76ae-4798-9434-19a993c8eec6" providerId="ADAL" clId="{EB5951B9-490D-4F7C-AEC2-2B668D88D2E0}" dt="2025-07-04T06:56:24.595" v="0" actId="47"/>
          <pc:sldLayoutMkLst>
            <pc:docMk/>
            <pc:sldMasterMk cId="26419248" sldId="2147483833"/>
            <pc:sldLayoutMk cId="1065375117" sldId="2147483846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DCDB163-ED6E-4871-AB29-746E8E0976C0}" type="doc">
      <dgm:prSet loTypeId="urn:microsoft.com/office/officeart/2005/8/layout/radial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B30C9F42-D839-4487-B8A7-B90DFE511208}">
      <dgm:prSet phldrT="[Tekst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da-DK" sz="5400" b="1" dirty="0">
              <a:solidFill>
                <a:schemeClr val="bg1"/>
              </a:solidFill>
              <a:latin typeface="Bahnschrift" panose="020B0502040204020203" pitchFamily="34" charset="0"/>
            </a:rPr>
            <a:t>AI </a:t>
          </a:r>
          <a:r>
            <a:rPr lang="da-DK" sz="5400" b="1" dirty="0" err="1">
              <a:solidFill>
                <a:schemeClr val="bg1"/>
              </a:solidFill>
              <a:latin typeface="Bahnschrift" panose="020B0502040204020203" pitchFamily="34" charset="0"/>
            </a:rPr>
            <a:t>Act</a:t>
          </a:r>
          <a:endParaRPr lang="da-DK" sz="5400" b="1" dirty="0">
            <a:solidFill>
              <a:schemeClr val="bg1"/>
            </a:solidFill>
            <a:latin typeface="Bahnschrift" panose="020B0502040204020203" pitchFamily="34" charset="0"/>
          </a:endParaRPr>
        </a:p>
      </dgm:t>
    </dgm:pt>
    <dgm:pt modelId="{EFF0357D-0FB2-4AC7-BA9C-525E5813F49E}" type="parTrans" cxnId="{2D5EAC8A-1B0B-43A3-BDBE-E04D6B0CCA8E}">
      <dgm:prSet/>
      <dgm:spPr/>
      <dgm:t>
        <a:bodyPr/>
        <a:lstStyle/>
        <a:p>
          <a:endParaRPr lang="da-DK"/>
        </a:p>
      </dgm:t>
    </dgm:pt>
    <dgm:pt modelId="{44428AF4-B876-4F1A-905F-72EB1219C6AE}" type="sibTrans" cxnId="{2D5EAC8A-1B0B-43A3-BDBE-E04D6B0CCA8E}">
      <dgm:prSet/>
      <dgm:spPr/>
      <dgm:t>
        <a:bodyPr/>
        <a:lstStyle/>
        <a:p>
          <a:endParaRPr lang="da-DK"/>
        </a:p>
      </dgm:t>
    </dgm:pt>
    <dgm:pt modelId="{EE6A6A05-427B-4B13-B660-DE50C8AAE6DA}">
      <dgm:prSet phldrT="[Tekst]" custT="1"/>
      <dgm:spPr>
        <a:solidFill>
          <a:schemeClr val="accent1">
            <a:lumMod val="40000"/>
            <a:lumOff val="60000"/>
            <a:alpha val="89000"/>
          </a:schemeClr>
        </a:solidFill>
      </dgm:spPr>
      <dgm:t>
        <a:bodyPr/>
        <a:lstStyle/>
        <a:p>
          <a:r>
            <a:rPr lang="da-DK" sz="1400" dirty="0">
              <a:latin typeface="Bahnschrift" panose="020B0502040204020203" pitchFamily="34" charset="0"/>
            </a:rPr>
            <a:t>Regler om </a:t>
          </a:r>
          <a:r>
            <a:rPr lang="da-DK" sz="1400" dirty="0" err="1">
              <a:latin typeface="Bahnschrift" panose="020B0502040204020203" pitchFamily="34" charset="0"/>
            </a:rPr>
            <a:t>erstatnings-ansvar</a:t>
          </a:r>
          <a:endParaRPr lang="da-DK" sz="1400" dirty="0">
            <a:latin typeface="Bahnschrift" panose="020B0502040204020203" pitchFamily="34" charset="0"/>
          </a:endParaRPr>
        </a:p>
      </dgm:t>
    </dgm:pt>
    <dgm:pt modelId="{FFF46D29-7C02-4B54-9A42-BAB3D2901B0E}" type="parTrans" cxnId="{ED0EC719-4B71-4FD6-A947-D0D2A7925D2B}">
      <dgm:prSet/>
      <dgm:spPr/>
      <dgm:t>
        <a:bodyPr/>
        <a:lstStyle/>
        <a:p>
          <a:endParaRPr lang="da-DK"/>
        </a:p>
      </dgm:t>
    </dgm:pt>
    <dgm:pt modelId="{F7874D8B-4F66-45E6-800F-1A6DFE5C6AF0}" type="sibTrans" cxnId="{ED0EC719-4B71-4FD6-A947-D0D2A7925D2B}">
      <dgm:prSet/>
      <dgm:spPr/>
      <dgm:t>
        <a:bodyPr/>
        <a:lstStyle/>
        <a:p>
          <a:endParaRPr lang="da-DK"/>
        </a:p>
      </dgm:t>
    </dgm:pt>
    <dgm:pt modelId="{8D06FFDC-9CC5-4E3A-83D9-D0015DB42236}">
      <dgm:prSet phldrT="[Tekst]" custT="1"/>
      <dgm:spPr>
        <a:solidFill>
          <a:schemeClr val="accent1">
            <a:lumMod val="40000"/>
            <a:lumOff val="60000"/>
            <a:alpha val="89000"/>
          </a:schemeClr>
        </a:solidFill>
      </dgm:spPr>
      <dgm:t>
        <a:bodyPr/>
        <a:lstStyle/>
        <a:p>
          <a:r>
            <a:rPr lang="da-DK" sz="1400" dirty="0">
              <a:latin typeface="Bahnschrift" panose="020B0502040204020203" pitchFamily="34" charset="0"/>
            </a:rPr>
            <a:t>Ophavsret</a:t>
          </a:r>
        </a:p>
      </dgm:t>
    </dgm:pt>
    <dgm:pt modelId="{E153E193-E9F8-41DE-AE07-E3C499C44EC4}" type="parTrans" cxnId="{9110A312-9032-46CA-B73B-ED5681C31D7F}">
      <dgm:prSet/>
      <dgm:spPr/>
      <dgm:t>
        <a:bodyPr/>
        <a:lstStyle/>
        <a:p>
          <a:endParaRPr lang="da-DK"/>
        </a:p>
      </dgm:t>
    </dgm:pt>
    <dgm:pt modelId="{51B2AA79-17B5-4288-AE3D-B9C2300A9870}" type="sibTrans" cxnId="{9110A312-9032-46CA-B73B-ED5681C31D7F}">
      <dgm:prSet/>
      <dgm:spPr/>
      <dgm:t>
        <a:bodyPr/>
        <a:lstStyle/>
        <a:p>
          <a:endParaRPr lang="da-DK"/>
        </a:p>
      </dgm:t>
    </dgm:pt>
    <dgm:pt modelId="{E40B3748-E7E3-4A26-BDC5-CD9B883A999C}">
      <dgm:prSet phldrT="[Tekst]" custT="1"/>
      <dgm:spPr>
        <a:solidFill>
          <a:schemeClr val="accent1">
            <a:lumMod val="40000"/>
            <a:lumOff val="60000"/>
            <a:alpha val="89000"/>
          </a:schemeClr>
        </a:solidFill>
      </dgm:spPr>
      <dgm:t>
        <a:bodyPr/>
        <a:lstStyle/>
        <a:p>
          <a:r>
            <a:rPr lang="da-DK" sz="1400" dirty="0">
              <a:latin typeface="Bahnschrift" panose="020B0502040204020203" pitchFamily="34" charset="0"/>
            </a:rPr>
            <a:t>Internationale regler</a:t>
          </a:r>
        </a:p>
      </dgm:t>
    </dgm:pt>
    <dgm:pt modelId="{9C12FD96-1A63-4186-B9F1-C55DA279588C}" type="parTrans" cxnId="{42DBEFA7-6EB1-479B-A924-1EC52E2052D9}">
      <dgm:prSet/>
      <dgm:spPr/>
      <dgm:t>
        <a:bodyPr/>
        <a:lstStyle/>
        <a:p>
          <a:endParaRPr lang="da-DK"/>
        </a:p>
      </dgm:t>
    </dgm:pt>
    <dgm:pt modelId="{A16B634A-D5F7-47E2-975E-5F637492455A}" type="sibTrans" cxnId="{42DBEFA7-6EB1-479B-A924-1EC52E2052D9}">
      <dgm:prSet/>
      <dgm:spPr/>
      <dgm:t>
        <a:bodyPr/>
        <a:lstStyle/>
        <a:p>
          <a:endParaRPr lang="da-DK"/>
        </a:p>
      </dgm:t>
    </dgm:pt>
    <dgm:pt modelId="{1F0E64F7-5450-405E-95D2-09182E484DE9}">
      <dgm:prSet phldrT="[Tekst]" custT="1"/>
      <dgm:spPr>
        <a:solidFill>
          <a:schemeClr val="accent1">
            <a:lumMod val="40000"/>
            <a:lumOff val="60000"/>
            <a:alpha val="89000"/>
          </a:schemeClr>
        </a:solidFill>
      </dgm:spPr>
      <dgm:t>
        <a:bodyPr/>
        <a:lstStyle/>
        <a:p>
          <a:r>
            <a:rPr lang="da-DK" sz="1400" dirty="0">
              <a:latin typeface="Bahnschrift" panose="020B0502040204020203" pitchFamily="34" charset="0"/>
            </a:rPr>
            <a:t>Produkt-sikkerhed</a:t>
          </a:r>
        </a:p>
      </dgm:t>
    </dgm:pt>
    <dgm:pt modelId="{94ABBC62-66D6-4617-AD7C-855A71AD3839}" type="parTrans" cxnId="{6CB3C0A7-ACCD-4C79-AB95-2FB11FE0E407}">
      <dgm:prSet/>
      <dgm:spPr/>
      <dgm:t>
        <a:bodyPr/>
        <a:lstStyle/>
        <a:p>
          <a:endParaRPr lang="da-DK"/>
        </a:p>
      </dgm:t>
    </dgm:pt>
    <dgm:pt modelId="{C56770E2-7B21-49CA-AEC4-3AC7CBA8C9DB}" type="sibTrans" cxnId="{6CB3C0A7-ACCD-4C79-AB95-2FB11FE0E407}">
      <dgm:prSet/>
      <dgm:spPr/>
      <dgm:t>
        <a:bodyPr/>
        <a:lstStyle/>
        <a:p>
          <a:endParaRPr lang="da-DK"/>
        </a:p>
      </dgm:t>
    </dgm:pt>
    <dgm:pt modelId="{E15E5949-9950-4A39-8666-B3D23D8B59A2}">
      <dgm:prSet phldrT="[Tekst]" custT="1"/>
      <dgm:spPr>
        <a:solidFill>
          <a:schemeClr val="accent1">
            <a:lumMod val="40000"/>
            <a:lumOff val="60000"/>
            <a:alpha val="89000"/>
          </a:schemeClr>
        </a:solidFill>
      </dgm:spPr>
      <dgm:t>
        <a:bodyPr/>
        <a:lstStyle/>
        <a:p>
          <a:r>
            <a:rPr lang="da-DK" sz="1400" dirty="0">
              <a:latin typeface="Bahnschrift" panose="020B0502040204020203" pitchFamily="34" charset="0"/>
            </a:rPr>
            <a:t>Regulering af dataadgang og -deling</a:t>
          </a:r>
        </a:p>
      </dgm:t>
    </dgm:pt>
    <dgm:pt modelId="{C6A08C89-23D8-4083-AB35-A7A9C88A5BB9}" type="parTrans" cxnId="{BDB421C2-8AC3-4B07-9D57-72FD6580566B}">
      <dgm:prSet/>
      <dgm:spPr/>
      <dgm:t>
        <a:bodyPr/>
        <a:lstStyle/>
        <a:p>
          <a:endParaRPr lang="da-DK"/>
        </a:p>
      </dgm:t>
    </dgm:pt>
    <dgm:pt modelId="{9A69AF99-AD09-462D-B90D-B41B46DFAE02}" type="sibTrans" cxnId="{BDB421C2-8AC3-4B07-9D57-72FD6580566B}">
      <dgm:prSet/>
      <dgm:spPr/>
      <dgm:t>
        <a:bodyPr/>
        <a:lstStyle/>
        <a:p>
          <a:endParaRPr lang="da-DK"/>
        </a:p>
      </dgm:t>
    </dgm:pt>
    <dgm:pt modelId="{060A0D46-F2B9-4F17-B267-D6C4F6613426}">
      <dgm:prSet phldrT="[Tekst]" custT="1"/>
      <dgm:spPr>
        <a:solidFill>
          <a:schemeClr val="accent1">
            <a:lumMod val="40000"/>
            <a:lumOff val="60000"/>
            <a:alpha val="89000"/>
          </a:schemeClr>
        </a:solidFill>
      </dgm:spPr>
      <dgm:t>
        <a:bodyPr/>
        <a:lstStyle/>
        <a:p>
          <a:r>
            <a:rPr lang="da-DK" sz="1400" dirty="0">
              <a:latin typeface="Bahnschrift" panose="020B0502040204020203" pitchFamily="34" charset="0"/>
            </a:rPr>
            <a:t>Sektor lovgivning</a:t>
          </a:r>
        </a:p>
      </dgm:t>
    </dgm:pt>
    <dgm:pt modelId="{5E19BB2E-B35A-46B5-8003-6DFEC105878D}" type="parTrans" cxnId="{AA38E923-8028-41C2-B370-422542158406}">
      <dgm:prSet/>
      <dgm:spPr/>
      <dgm:t>
        <a:bodyPr/>
        <a:lstStyle/>
        <a:p>
          <a:endParaRPr lang="da-DK"/>
        </a:p>
      </dgm:t>
    </dgm:pt>
    <dgm:pt modelId="{E4B8BAC4-0F18-4E40-8C1B-1246FB3A421F}" type="sibTrans" cxnId="{AA38E923-8028-41C2-B370-422542158406}">
      <dgm:prSet/>
      <dgm:spPr/>
      <dgm:t>
        <a:bodyPr/>
        <a:lstStyle/>
        <a:p>
          <a:endParaRPr lang="da-DK"/>
        </a:p>
      </dgm:t>
    </dgm:pt>
    <dgm:pt modelId="{713E545D-ABE5-4033-89E9-4046CEE6FE92}">
      <dgm:prSet phldrT="[Tekst]" custT="1"/>
      <dgm:spPr>
        <a:solidFill>
          <a:schemeClr val="accent1">
            <a:lumMod val="40000"/>
            <a:lumOff val="60000"/>
            <a:alpha val="89000"/>
          </a:schemeClr>
        </a:solidFill>
      </dgm:spPr>
      <dgm:t>
        <a:bodyPr/>
        <a:lstStyle/>
        <a:p>
          <a:r>
            <a:rPr lang="da-DK" sz="1400" dirty="0">
              <a:latin typeface="Bahnschrift" panose="020B0502040204020203" pitchFamily="34" charset="0"/>
            </a:rPr>
            <a:t>GDPR</a:t>
          </a:r>
        </a:p>
      </dgm:t>
    </dgm:pt>
    <dgm:pt modelId="{2D0CBA09-F499-4E40-A376-2B68E040BD15}" type="parTrans" cxnId="{CF450C47-8927-4400-BF06-DD285A789017}">
      <dgm:prSet/>
      <dgm:spPr/>
      <dgm:t>
        <a:bodyPr/>
        <a:lstStyle/>
        <a:p>
          <a:endParaRPr lang="da-DK"/>
        </a:p>
      </dgm:t>
    </dgm:pt>
    <dgm:pt modelId="{AF3894D4-E39E-42F5-8975-7A4FA509F75E}" type="sibTrans" cxnId="{CF450C47-8927-4400-BF06-DD285A789017}">
      <dgm:prSet/>
      <dgm:spPr/>
      <dgm:t>
        <a:bodyPr/>
        <a:lstStyle/>
        <a:p>
          <a:endParaRPr lang="da-DK"/>
        </a:p>
      </dgm:t>
    </dgm:pt>
    <dgm:pt modelId="{69F838F0-103C-4DB8-90DB-5230D2C5F31C}">
      <dgm:prSet phldrT="[Tekst]" custT="1"/>
      <dgm:spPr>
        <a:solidFill>
          <a:schemeClr val="accent1">
            <a:lumMod val="40000"/>
            <a:lumOff val="60000"/>
            <a:alpha val="89000"/>
          </a:schemeClr>
        </a:solidFill>
      </dgm:spPr>
      <dgm:t>
        <a:bodyPr/>
        <a:lstStyle/>
        <a:p>
          <a:r>
            <a:rPr lang="da-DK" sz="1400" dirty="0" err="1">
              <a:latin typeface="Bahnschrift" panose="020B0502040204020203" pitchFamily="34" charset="0"/>
            </a:rPr>
            <a:t>Cyber</a:t>
          </a:r>
          <a:r>
            <a:rPr lang="da-DK" sz="1400" dirty="0">
              <a:latin typeface="Bahnschrift" panose="020B0502040204020203" pitchFamily="34" charset="0"/>
            </a:rPr>
            <a:t>-sikkerhed (NIS2 mv)</a:t>
          </a:r>
        </a:p>
      </dgm:t>
    </dgm:pt>
    <dgm:pt modelId="{5FE1B873-E605-4FA2-A276-08525640A634}" type="parTrans" cxnId="{86F3FFC2-7C0B-49BB-AA85-D9D849F36D0E}">
      <dgm:prSet/>
      <dgm:spPr/>
      <dgm:t>
        <a:bodyPr/>
        <a:lstStyle/>
        <a:p>
          <a:endParaRPr lang="da-DK"/>
        </a:p>
      </dgm:t>
    </dgm:pt>
    <dgm:pt modelId="{2D18C379-C7BD-49BC-94EB-8BEE4861D12C}" type="sibTrans" cxnId="{86F3FFC2-7C0B-49BB-AA85-D9D849F36D0E}">
      <dgm:prSet/>
      <dgm:spPr/>
      <dgm:t>
        <a:bodyPr/>
        <a:lstStyle/>
        <a:p>
          <a:endParaRPr lang="da-DK"/>
        </a:p>
      </dgm:t>
    </dgm:pt>
    <dgm:pt modelId="{F8B626C2-44B4-45F7-8771-965254FE10AC}" type="pres">
      <dgm:prSet presAssocID="{EDCDB163-ED6E-4871-AB29-746E8E0976C0}" presName="composite" presStyleCnt="0">
        <dgm:presLayoutVars>
          <dgm:chMax val="1"/>
          <dgm:dir/>
          <dgm:resizeHandles val="exact"/>
        </dgm:presLayoutVars>
      </dgm:prSet>
      <dgm:spPr/>
    </dgm:pt>
    <dgm:pt modelId="{5390E915-B651-434F-94CC-0E42CFAD5AC9}" type="pres">
      <dgm:prSet presAssocID="{EDCDB163-ED6E-4871-AB29-746E8E0976C0}" presName="radial" presStyleCnt="0">
        <dgm:presLayoutVars>
          <dgm:animLvl val="ctr"/>
        </dgm:presLayoutVars>
      </dgm:prSet>
      <dgm:spPr/>
    </dgm:pt>
    <dgm:pt modelId="{1E355A25-7647-4B4D-8896-16E45823D826}" type="pres">
      <dgm:prSet presAssocID="{B30C9F42-D839-4487-B8A7-B90DFE511208}" presName="centerShape" presStyleLbl="vennNode1" presStyleIdx="0" presStyleCnt="9"/>
      <dgm:spPr/>
    </dgm:pt>
    <dgm:pt modelId="{6213B66A-0F4B-498F-A8B4-A540F633C10C}" type="pres">
      <dgm:prSet presAssocID="{E40B3748-E7E3-4A26-BDC5-CD9B883A999C}" presName="node" presStyleLbl="vennNode1" presStyleIdx="1" presStyleCnt="9" custScaleX="131137" custScaleY="116166">
        <dgm:presLayoutVars>
          <dgm:bulletEnabled val="1"/>
        </dgm:presLayoutVars>
      </dgm:prSet>
      <dgm:spPr/>
    </dgm:pt>
    <dgm:pt modelId="{EEB6D42E-7259-4C73-BCA0-45E3EA5DE7AF}" type="pres">
      <dgm:prSet presAssocID="{713E545D-ABE5-4033-89E9-4046CEE6FE92}" presName="node" presStyleLbl="vennNode1" presStyleIdx="2" presStyleCnt="9" custScaleX="125572" custScaleY="115083" custRadScaleRad="112631" custRadScaleInc="329">
        <dgm:presLayoutVars>
          <dgm:bulletEnabled val="1"/>
        </dgm:presLayoutVars>
      </dgm:prSet>
      <dgm:spPr/>
    </dgm:pt>
    <dgm:pt modelId="{F408A67E-AEE5-410B-85C9-A1CBA4327F52}" type="pres">
      <dgm:prSet presAssocID="{69F838F0-103C-4DB8-90DB-5230D2C5F31C}" presName="node" presStyleLbl="vennNode1" presStyleIdx="3" presStyleCnt="9" custScaleX="152207" custScaleY="118920" custRadScaleRad="119044" custRadScaleInc="-5171">
        <dgm:presLayoutVars>
          <dgm:bulletEnabled val="1"/>
        </dgm:presLayoutVars>
      </dgm:prSet>
      <dgm:spPr/>
    </dgm:pt>
    <dgm:pt modelId="{0D6F61D3-8601-4375-9302-FB962CE4226A}" type="pres">
      <dgm:prSet presAssocID="{E15E5949-9950-4A39-8666-B3D23D8B59A2}" presName="node" presStyleLbl="vennNode1" presStyleIdx="4" presStyleCnt="9" custScaleX="123868" custScaleY="126171" custRadScaleRad="113600" custRadScaleInc="-10051">
        <dgm:presLayoutVars>
          <dgm:bulletEnabled val="1"/>
        </dgm:presLayoutVars>
      </dgm:prSet>
      <dgm:spPr/>
    </dgm:pt>
    <dgm:pt modelId="{E2E9C012-6BA8-40B7-8AD2-118DBCDC83C2}" type="pres">
      <dgm:prSet presAssocID="{060A0D46-F2B9-4F17-B267-D6C4F6613426}" presName="node" presStyleLbl="vennNode1" presStyleIdx="5" presStyleCnt="9" custScaleX="138834" custScaleY="122993" custRadScaleRad="106404" custRadScaleInc="-6628">
        <dgm:presLayoutVars>
          <dgm:bulletEnabled val="1"/>
        </dgm:presLayoutVars>
      </dgm:prSet>
      <dgm:spPr/>
    </dgm:pt>
    <dgm:pt modelId="{1CB817A6-FBFB-42C5-82C4-45ABD782BF35}" type="pres">
      <dgm:prSet presAssocID="{1F0E64F7-5450-405E-95D2-09182E484DE9}" presName="node" presStyleLbl="vennNode1" presStyleIdx="6" presStyleCnt="9" custScaleX="128248" custScaleY="124076" custRadScaleRad="111795" custRadScaleInc="-1794">
        <dgm:presLayoutVars>
          <dgm:bulletEnabled val="1"/>
        </dgm:presLayoutVars>
      </dgm:prSet>
      <dgm:spPr/>
    </dgm:pt>
    <dgm:pt modelId="{D4000F68-7BCF-458F-ACC2-86E68D10151D}" type="pres">
      <dgm:prSet presAssocID="{EE6A6A05-427B-4B13-B660-DE50C8AAE6DA}" presName="node" presStyleLbl="vennNode1" presStyleIdx="7" presStyleCnt="9" custScaleX="156588" custScaleY="120239" custRadScaleRad="117581" custRadScaleInc="777">
        <dgm:presLayoutVars>
          <dgm:bulletEnabled val="1"/>
        </dgm:presLayoutVars>
      </dgm:prSet>
      <dgm:spPr/>
    </dgm:pt>
    <dgm:pt modelId="{E02AADE4-59A5-4DC6-A31A-03AA5AD504E1}" type="pres">
      <dgm:prSet presAssocID="{8D06FFDC-9CC5-4E3A-83D9-D0015DB42236}" presName="node" presStyleLbl="vennNode1" presStyleIdx="8" presStyleCnt="9" custScaleX="127300" custScaleY="125803" custRadScaleRad="111707" custRadScaleInc="-4787">
        <dgm:presLayoutVars>
          <dgm:bulletEnabled val="1"/>
        </dgm:presLayoutVars>
      </dgm:prSet>
      <dgm:spPr/>
    </dgm:pt>
  </dgm:ptLst>
  <dgm:cxnLst>
    <dgm:cxn modelId="{9110A312-9032-46CA-B73B-ED5681C31D7F}" srcId="{B30C9F42-D839-4487-B8A7-B90DFE511208}" destId="{8D06FFDC-9CC5-4E3A-83D9-D0015DB42236}" srcOrd="7" destOrd="0" parTransId="{E153E193-E9F8-41DE-AE07-E3C499C44EC4}" sibTransId="{51B2AA79-17B5-4288-AE3D-B9C2300A9870}"/>
    <dgm:cxn modelId="{ED0EC719-4B71-4FD6-A947-D0D2A7925D2B}" srcId="{B30C9F42-D839-4487-B8A7-B90DFE511208}" destId="{EE6A6A05-427B-4B13-B660-DE50C8AAE6DA}" srcOrd="6" destOrd="0" parTransId="{FFF46D29-7C02-4B54-9A42-BAB3D2901B0E}" sibTransId="{F7874D8B-4F66-45E6-800F-1A6DFE5C6AF0}"/>
    <dgm:cxn modelId="{AA38E923-8028-41C2-B370-422542158406}" srcId="{B30C9F42-D839-4487-B8A7-B90DFE511208}" destId="{060A0D46-F2B9-4F17-B267-D6C4F6613426}" srcOrd="4" destOrd="0" parTransId="{5E19BB2E-B35A-46B5-8003-6DFEC105878D}" sibTransId="{E4B8BAC4-0F18-4E40-8C1B-1246FB3A421F}"/>
    <dgm:cxn modelId="{0132925D-9DE3-4DEE-9888-5CB470737C64}" type="presOf" srcId="{EE6A6A05-427B-4B13-B660-DE50C8AAE6DA}" destId="{D4000F68-7BCF-458F-ACC2-86E68D10151D}" srcOrd="0" destOrd="0" presId="urn:microsoft.com/office/officeart/2005/8/layout/radial3"/>
    <dgm:cxn modelId="{E526BD66-1885-4185-AF54-52973247EFF5}" type="presOf" srcId="{69F838F0-103C-4DB8-90DB-5230D2C5F31C}" destId="{F408A67E-AEE5-410B-85C9-A1CBA4327F52}" srcOrd="0" destOrd="0" presId="urn:microsoft.com/office/officeart/2005/8/layout/radial3"/>
    <dgm:cxn modelId="{CF450C47-8927-4400-BF06-DD285A789017}" srcId="{B30C9F42-D839-4487-B8A7-B90DFE511208}" destId="{713E545D-ABE5-4033-89E9-4046CEE6FE92}" srcOrd="1" destOrd="0" parTransId="{2D0CBA09-F499-4E40-A376-2B68E040BD15}" sibTransId="{AF3894D4-E39E-42F5-8975-7A4FA509F75E}"/>
    <dgm:cxn modelId="{99CA3C68-DD09-4188-9252-966D71C085A2}" type="presOf" srcId="{B30C9F42-D839-4487-B8A7-B90DFE511208}" destId="{1E355A25-7647-4B4D-8896-16E45823D826}" srcOrd="0" destOrd="0" presId="urn:microsoft.com/office/officeart/2005/8/layout/radial3"/>
    <dgm:cxn modelId="{B2356258-DD54-40B7-AB1C-2BAE7DACDC5C}" type="presOf" srcId="{EDCDB163-ED6E-4871-AB29-746E8E0976C0}" destId="{F8B626C2-44B4-45F7-8771-965254FE10AC}" srcOrd="0" destOrd="0" presId="urn:microsoft.com/office/officeart/2005/8/layout/radial3"/>
    <dgm:cxn modelId="{2D5EAC8A-1B0B-43A3-BDBE-E04D6B0CCA8E}" srcId="{EDCDB163-ED6E-4871-AB29-746E8E0976C0}" destId="{B30C9F42-D839-4487-B8A7-B90DFE511208}" srcOrd="0" destOrd="0" parTransId="{EFF0357D-0FB2-4AC7-BA9C-525E5813F49E}" sibTransId="{44428AF4-B876-4F1A-905F-72EB1219C6AE}"/>
    <dgm:cxn modelId="{1ABA779E-1A6B-4E7C-A9E7-3CC1D23B53B4}" type="presOf" srcId="{E15E5949-9950-4A39-8666-B3D23D8B59A2}" destId="{0D6F61D3-8601-4375-9302-FB962CE4226A}" srcOrd="0" destOrd="0" presId="urn:microsoft.com/office/officeart/2005/8/layout/radial3"/>
    <dgm:cxn modelId="{6CB3C0A7-ACCD-4C79-AB95-2FB11FE0E407}" srcId="{B30C9F42-D839-4487-B8A7-B90DFE511208}" destId="{1F0E64F7-5450-405E-95D2-09182E484DE9}" srcOrd="5" destOrd="0" parTransId="{94ABBC62-66D6-4617-AD7C-855A71AD3839}" sibTransId="{C56770E2-7B21-49CA-AEC4-3AC7CBA8C9DB}"/>
    <dgm:cxn modelId="{42DBEFA7-6EB1-479B-A924-1EC52E2052D9}" srcId="{B30C9F42-D839-4487-B8A7-B90DFE511208}" destId="{E40B3748-E7E3-4A26-BDC5-CD9B883A999C}" srcOrd="0" destOrd="0" parTransId="{9C12FD96-1A63-4186-B9F1-C55DA279588C}" sibTransId="{A16B634A-D5F7-47E2-975E-5F637492455A}"/>
    <dgm:cxn modelId="{41307EA9-B035-45CE-9504-18840BB4CDD7}" type="presOf" srcId="{713E545D-ABE5-4033-89E9-4046CEE6FE92}" destId="{EEB6D42E-7259-4C73-BCA0-45E3EA5DE7AF}" srcOrd="0" destOrd="0" presId="urn:microsoft.com/office/officeart/2005/8/layout/radial3"/>
    <dgm:cxn modelId="{70C567AC-DA63-41C2-B20E-26AA750A53B3}" type="presOf" srcId="{8D06FFDC-9CC5-4E3A-83D9-D0015DB42236}" destId="{E02AADE4-59A5-4DC6-A31A-03AA5AD504E1}" srcOrd="0" destOrd="0" presId="urn:microsoft.com/office/officeart/2005/8/layout/radial3"/>
    <dgm:cxn modelId="{BDB421C2-8AC3-4B07-9D57-72FD6580566B}" srcId="{B30C9F42-D839-4487-B8A7-B90DFE511208}" destId="{E15E5949-9950-4A39-8666-B3D23D8B59A2}" srcOrd="3" destOrd="0" parTransId="{C6A08C89-23D8-4083-AB35-A7A9C88A5BB9}" sibTransId="{9A69AF99-AD09-462D-B90D-B41B46DFAE02}"/>
    <dgm:cxn modelId="{86F3FFC2-7C0B-49BB-AA85-D9D849F36D0E}" srcId="{B30C9F42-D839-4487-B8A7-B90DFE511208}" destId="{69F838F0-103C-4DB8-90DB-5230D2C5F31C}" srcOrd="2" destOrd="0" parTransId="{5FE1B873-E605-4FA2-A276-08525640A634}" sibTransId="{2D18C379-C7BD-49BC-94EB-8BEE4861D12C}"/>
    <dgm:cxn modelId="{AC2DA0CB-CF84-4297-9ADE-2FBB95DCFB55}" type="presOf" srcId="{E40B3748-E7E3-4A26-BDC5-CD9B883A999C}" destId="{6213B66A-0F4B-498F-A8B4-A540F633C10C}" srcOrd="0" destOrd="0" presId="urn:microsoft.com/office/officeart/2005/8/layout/radial3"/>
    <dgm:cxn modelId="{606802E0-A2BB-4496-8932-54F9C1B0D26E}" type="presOf" srcId="{060A0D46-F2B9-4F17-B267-D6C4F6613426}" destId="{E2E9C012-6BA8-40B7-8AD2-118DBCDC83C2}" srcOrd="0" destOrd="0" presId="urn:microsoft.com/office/officeart/2005/8/layout/radial3"/>
    <dgm:cxn modelId="{D349FFE1-0850-498E-A175-A65C6CB0AAFF}" type="presOf" srcId="{1F0E64F7-5450-405E-95D2-09182E484DE9}" destId="{1CB817A6-FBFB-42C5-82C4-45ABD782BF35}" srcOrd="0" destOrd="0" presId="urn:microsoft.com/office/officeart/2005/8/layout/radial3"/>
    <dgm:cxn modelId="{C34F6189-DC31-4AA2-BF68-27EF8C8147ED}" type="presParOf" srcId="{F8B626C2-44B4-45F7-8771-965254FE10AC}" destId="{5390E915-B651-434F-94CC-0E42CFAD5AC9}" srcOrd="0" destOrd="0" presId="urn:microsoft.com/office/officeart/2005/8/layout/radial3"/>
    <dgm:cxn modelId="{AA824D7B-F100-4102-B4AE-276EDF2232F5}" type="presParOf" srcId="{5390E915-B651-434F-94CC-0E42CFAD5AC9}" destId="{1E355A25-7647-4B4D-8896-16E45823D826}" srcOrd="0" destOrd="0" presId="urn:microsoft.com/office/officeart/2005/8/layout/radial3"/>
    <dgm:cxn modelId="{354E17C8-22B5-4D3A-8D70-7B79C7066163}" type="presParOf" srcId="{5390E915-B651-434F-94CC-0E42CFAD5AC9}" destId="{6213B66A-0F4B-498F-A8B4-A540F633C10C}" srcOrd="1" destOrd="0" presId="urn:microsoft.com/office/officeart/2005/8/layout/radial3"/>
    <dgm:cxn modelId="{9A59DC08-4E46-4045-AE6E-C8AF5379249F}" type="presParOf" srcId="{5390E915-B651-434F-94CC-0E42CFAD5AC9}" destId="{EEB6D42E-7259-4C73-BCA0-45E3EA5DE7AF}" srcOrd="2" destOrd="0" presId="urn:microsoft.com/office/officeart/2005/8/layout/radial3"/>
    <dgm:cxn modelId="{D7AEF0F8-BF20-4AE3-9439-66908885DFCE}" type="presParOf" srcId="{5390E915-B651-434F-94CC-0E42CFAD5AC9}" destId="{F408A67E-AEE5-410B-85C9-A1CBA4327F52}" srcOrd="3" destOrd="0" presId="urn:microsoft.com/office/officeart/2005/8/layout/radial3"/>
    <dgm:cxn modelId="{8DA0A5DF-1D52-4530-BA37-0F9A077C56BF}" type="presParOf" srcId="{5390E915-B651-434F-94CC-0E42CFAD5AC9}" destId="{0D6F61D3-8601-4375-9302-FB962CE4226A}" srcOrd="4" destOrd="0" presId="urn:microsoft.com/office/officeart/2005/8/layout/radial3"/>
    <dgm:cxn modelId="{8E14AF1D-C43C-45BD-9385-3C115478A3D2}" type="presParOf" srcId="{5390E915-B651-434F-94CC-0E42CFAD5AC9}" destId="{E2E9C012-6BA8-40B7-8AD2-118DBCDC83C2}" srcOrd="5" destOrd="0" presId="urn:microsoft.com/office/officeart/2005/8/layout/radial3"/>
    <dgm:cxn modelId="{AC30D467-724E-4477-969F-8411DD97C5A4}" type="presParOf" srcId="{5390E915-B651-434F-94CC-0E42CFAD5AC9}" destId="{1CB817A6-FBFB-42C5-82C4-45ABD782BF35}" srcOrd="6" destOrd="0" presId="urn:microsoft.com/office/officeart/2005/8/layout/radial3"/>
    <dgm:cxn modelId="{9376C275-E96A-4C48-AB34-F3C8DCF94717}" type="presParOf" srcId="{5390E915-B651-434F-94CC-0E42CFAD5AC9}" destId="{D4000F68-7BCF-458F-ACC2-86E68D10151D}" srcOrd="7" destOrd="0" presId="urn:microsoft.com/office/officeart/2005/8/layout/radial3"/>
    <dgm:cxn modelId="{D611B058-BBCB-48C8-A8EC-410C38F1107C}" type="presParOf" srcId="{5390E915-B651-434F-94CC-0E42CFAD5AC9}" destId="{E02AADE4-59A5-4DC6-A31A-03AA5AD504E1}" srcOrd="8" destOrd="0" presId="urn:microsoft.com/office/officeart/2005/8/layout/radial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355A25-7647-4B4D-8896-16E45823D826}">
      <dsp:nvSpPr>
        <dsp:cNvPr id="0" name=""/>
        <dsp:cNvSpPr/>
      </dsp:nvSpPr>
      <dsp:spPr>
        <a:xfrm>
          <a:off x="4059878" y="1203625"/>
          <a:ext cx="3063637" cy="3063637"/>
        </a:xfrm>
        <a:prstGeom prst="ellipse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5400" b="1" kern="1200" dirty="0">
              <a:solidFill>
                <a:schemeClr val="bg1"/>
              </a:solidFill>
              <a:latin typeface="Bahnschrift" panose="020B0502040204020203" pitchFamily="34" charset="0"/>
            </a:rPr>
            <a:t>AI </a:t>
          </a:r>
          <a:r>
            <a:rPr lang="da-DK" sz="5400" b="1" kern="1200" dirty="0" err="1">
              <a:solidFill>
                <a:schemeClr val="bg1"/>
              </a:solidFill>
              <a:latin typeface="Bahnschrift" panose="020B0502040204020203" pitchFamily="34" charset="0"/>
            </a:rPr>
            <a:t>Act</a:t>
          </a:r>
          <a:endParaRPr lang="da-DK" sz="5400" b="1" kern="1200" dirty="0">
            <a:solidFill>
              <a:schemeClr val="bg1"/>
            </a:solidFill>
            <a:latin typeface="Bahnschrift" panose="020B0502040204020203" pitchFamily="34" charset="0"/>
          </a:endParaRPr>
        </a:p>
      </dsp:txBody>
      <dsp:txXfrm>
        <a:off x="4508537" y="1652284"/>
        <a:ext cx="2166319" cy="2166319"/>
      </dsp:txXfrm>
    </dsp:sp>
    <dsp:sp modelId="{6213B66A-0F4B-498F-A8B4-A540F633C10C}">
      <dsp:nvSpPr>
        <dsp:cNvPr id="0" name=""/>
        <dsp:cNvSpPr/>
      </dsp:nvSpPr>
      <dsp:spPr>
        <a:xfrm>
          <a:off x="4587306" y="-149414"/>
          <a:ext cx="2008781" cy="1779452"/>
        </a:xfrm>
        <a:prstGeom prst="ellipse">
          <a:avLst/>
        </a:prstGeom>
        <a:solidFill>
          <a:schemeClr val="accent1">
            <a:lumMod val="40000"/>
            <a:lumOff val="60000"/>
            <a:alpha val="89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>
              <a:latin typeface="Bahnschrift" panose="020B0502040204020203" pitchFamily="34" charset="0"/>
            </a:rPr>
            <a:t>Internationale regler</a:t>
          </a:r>
        </a:p>
      </dsp:txBody>
      <dsp:txXfrm>
        <a:off x="4881485" y="111181"/>
        <a:ext cx="1420423" cy="1258262"/>
      </dsp:txXfrm>
    </dsp:sp>
    <dsp:sp modelId="{EEB6D42E-7259-4C73-BCA0-45E3EA5DE7AF}">
      <dsp:nvSpPr>
        <dsp:cNvPr id="0" name=""/>
        <dsp:cNvSpPr/>
      </dsp:nvSpPr>
      <dsp:spPr>
        <a:xfrm>
          <a:off x="6222996" y="269157"/>
          <a:ext cx="1923535" cy="1762863"/>
        </a:xfrm>
        <a:prstGeom prst="ellipse">
          <a:avLst/>
        </a:prstGeom>
        <a:solidFill>
          <a:schemeClr val="accent1">
            <a:lumMod val="40000"/>
            <a:lumOff val="60000"/>
            <a:alpha val="89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>
              <a:latin typeface="Bahnschrift" panose="020B0502040204020203" pitchFamily="34" charset="0"/>
            </a:rPr>
            <a:t>GDPR</a:t>
          </a:r>
        </a:p>
      </dsp:txBody>
      <dsp:txXfrm>
        <a:off x="6504691" y="527322"/>
        <a:ext cx="1360145" cy="1246533"/>
      </dsp:txXfrm>
    </dsp:sp>
    <dsp:sp modelId="{F408A67E-AEE5-410B-85C9-A1CBA4327F52}">
      <dsp:nvSpPr>
        <dsp:cNvPr id="0" name=""/>
        <dsp:cNvSpPr/>
      </dsp:nvSpPr>
      <dsp:spPr>
        <a:xfrm>
          <a:off x="6799056" y="1728192"/>
          <a:ext cx="2331535" cy="1821639"/>
        </a:xfrm>
        <a:prstGeom prst="ellipse">
          <a:avLst/>
        </a:prstGeom>
        <a:solidFill>
          <a:schemeClr val="accent1">
            <a:lumMod val="40000"/>
            <a:lumOff val="60000"/>
            <a:alpha val="89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 err="1">
              <a:latin typeface="Bahnschrift" panose="020B0502040204020203" pitchFamily="34" charset="0"/>
            </a:rPr>
            <a:t>Cyber</a:t>
          </a:r>
          <a:r>
            <a:rPr lang="da-DK" sz="1400" kern="1200" dirty="0">
              <a:latin typeface="Bahnschrift" panose="020B0502040204020203" pitchFamily="34" charset="0"/>
            </a:rPr>
            <a:t>-sikkerhed (NIS2 mv)</a:t>
          </a:r>
        </a:p>
      </dsp:txBody>
      <dsp:txXfrm>
        <a:off x="7140501" y="1994965"/>
        <a:ext cx="1648645" cy="1288093"/>
      </dsp:txXfrm>
    </dsp:sp>
    <dsp:sp modelId="{0D6F61D3-8601-4375-9302-FB962CE4226A}">
      <dsp:nvSpPr>
        <dsp:cNvPr id="0" name=""/>
        <dsp:cNvSpPr/>
      </dsp:nvSpPr>
      <dsp:spPr>
        <a:xfrm>
          <a:off x="6367007" y="3240353"/>
          <a:ext cx="1897433" cy="1932711"/>
        </a:xfrm>
        <a:prstGeom prst="ellipse">
          <a:avLst/>
        </a:prstGeom>
        <a:solidFill>
          <a:schemeClr val="accent1">
            <a:lumMod val="40000"/>
            <a:lumOff val="60000"/>
            <a:alpha val="89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>
              <a:latin typeface="Bahnschrift" panose="020B0502040204020203" pitchFamily="34" charset="0"/>
            </a:rPr>
            <a:t>Regulering af dataadgang og -deling</a:t>
          </a:r>
        </a:p>
      </dsp:txBody>
      <dsp:txXfrm>
        <a:off x="6644880" y="3523392"/>
        <a:ext cx="1341687" cy="1366633"/>
      </dsp:txXfrm>
    </dsp:sp>
    <dsp:sp modelId="{E2E9C012-6BA8-40B7-8AD2-118DBCDC83C2}">
      <dsp:nvSpPr>
        <dsp:cNvPr id="0" name=""/>
        <dsp:cNvSpPr/>
      </dsp:nvSpPr>
      <dsp:spPr>
        <a:xfrm>
          <a:off x="4638814" y="3788562"/>
          <a:ext cx="2126685" cy="1884030"/>
        </a:xfrm>
        <a:prstGeom prst="ellipse">
          <a:avLst/>
        </a:prstGeom>
        <a:solidFill>
          <a:schemeClr val="accent1">
            <a:lumMod val="40000"/>
            <a:lumOff val="60000"/>
            <a:alpha val="89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>
              <a:latin typeface="Bahnschrift" panose="020B0502040204020203" pitchFamily="34" charset="0"/>
            </a:rPr>
            <a:t>Sektor lovgivning</a:t>
          </a:r>
        </a:p>
      </dsp:txBody>
      <dsp:txXfrm>
        <a:off x="4950260" y="4064472"/>
        <a:ext cx="1503793" cy="1332210"/>
      </dsp:txXfrm>
    </dsp:sp>
    <dsp:sp modelId="{1CB817A6-FBFB-42C5-82C4-45ABD782BF35}">
      <dsp:nvSpPr>
        <dsp:cNvPr id="0" name=""/>
        <dsp:cNvSpPr/>
      </dsp:nvSpPr>
      <dsp:spPr>
        <a:xfrm>
          <a:off x="3054639" y="3384372"/>
          <a:ext cx="1964527" cy="1900619"/>
        </a:xfrm>
        <a:prstGeom prst="ellipse">
          <a:avLst/>
        </a:prstGeom>
        <a:solidFill>
          <a:schemeClr val="accent1">
            <a:lumMod val="40000"/>
            <a:lumOff val="60000"/>
            <a:alpha val="89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>
              <a:latin typeface="Bahnschrift" panose="020B0502040204020203" pitchFamily="34" charset="0"/>
            </a:rPr>
            <a:t>Produkt-sikkerhed</a:t>
          </a:r>
        </a:p>
      </dsp:txBody>
      <dsp:txXfrm>
        <a:off x="3342337" y="3662711"/>
        <a:ext cx="1389131" cy="1343941"/>
      </dsp:txXfrm>
    </dsp:sp>
    <dsp:sp modelId="{D4000F68-7BCF-458F-ACC2-86E68D10151D}">
      <dsp:nvSpPr>
        <dsp:cNvPr id="0" name=""/>
        <dsp:cNvSpPr/>
      </dsp:nvSpPr>
      <dsp:spPr>
        <a:xfrm>
          <a:off x="2046521" y="1800206"/>
          <a:ext cx="2398644" cy="1841843"/>
        </a:xfrm>
        <a:prstGeom prst="ellipse">
          <a:avLst/>
        </a:prstGeom>
        <a:solidFill>
          <a:schemeClr val="accent1">
            <a:lumMod val="40000"/>
            <a:lumOff val="60000"/>
            <a:alpha val="89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>
              <a:latin typeface="Bahnschrift" panose="020B0502040204020203" pitchFamily="34" charset="0"/>
            </a:rPr>
            <a:t>Regler om </a:t>
          </a:r>
          <a:r>
            <a:rPr lang="da-DK" sz="1400" kern="1200" dirty="0" err="1">
              <a:latin typeface="Bahnschrift" panose="020B0502040204020203" pitchFamily="34" charset="0"/>
            </a:rPr>
            <a:t>erstatnings-ansvar</a:t>
          </a:r>
          <a:endParaRPr lang="da-DK" sz="1400" kern="1200" dirty="0">
            <a:latin typeface="Bahnschrift" panose="020B0502040204020203" pitchFamily="34" charset="0"/>
          </a:endParaRPr>
        </a:p>
      </dsp:txBody>
      <dsp:txXfrm>
        <a:off x="2397794" y="2069938"/>
        <a:ext cx="1696098" cy="1302379"/>
      </dsp:txXfrm>
    </dsp:sp>
    <dsp:sp modelId="{E02AADE4-59A5-4DC6-A31A-03AA5AD504E1}">
      <dsp:nvSpPr>
        <dsp:cNvPr id="0" name=""/>
        <dsp:cNvSpPr/>
      </dsp:nvSpPr>
      <dsp:spPr>
        <a:xfrm>
          <a:off x="2982640" y="256326"/>
          <a:ext cx="1950005" cy="1927074"/>
        </a:xfrm>
        <a:prstGeom prst="ellipse">
          <a:avLst/>
        </a:prstGeom>
        <a:solidFill>
          <a:schemeClr val="accent1">
            <a:lumMod val="40000"/>
            <a:lumOff val="60000"/>
            <a:alpha val="89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>
              <a:latin typeface="Bahnschrift" panose="020B0502040204020203" pitchFamily="34" charset="0"/>
            </a:rPr>
            <a:t>Ophavsret</a:t>
          </a:r>
        </a:p>
      </dsp:txBody>
      <dsp:txXfrm>
        <a:off x="3268212" y="538539"/>
        <a:ext cx="1378861" cy="13626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3316"/>
          </a:xfrm>
          <a:prstGeom prst="rect">
            <a:avLst/>
          </a:prstGeom>
        </p:spPr>
        <p:txBody>
          <a:bodyPr vert="horz" lIns="91360" tIns="45679" rIns="91360" bIns="45679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15375" y="0"/>
            <a:ext cx="2918830" cy="493316"/>
          </a:xfrm>
          <a:prstGeom prst="rect">
            <a:avLst/>
          </a:prstGeom>
        </p:spPr>
        <p:txBody>
          <a:bodyPr vert="horz" lIns="91360" tIns="45679" rIns="91360" bIns="45679" rtlCol="0"/>
          <a:lstStyle>
            <a:lvl1pPr algn="r">
              <a:defRPr sz="1200"/>
            </a:lvl1pPr>
          </a:lstStyle>
          <a:p>
            <a:fld id="{ED62BE1F-4415-463E-AD84-AF072E23F6C0}" type="datetimeFigureOut">
              <a:rPr lang="da-DK" smtClean="0"/>
              <a:t>09-10-2025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371285"/>
            <a:ext cx="2918830" cy="493316"/>
          </a:xfrm>
          <a:prstGeom prst="rect">
            <a:avLst/>
          </a:prstGeom>
        </p:spPr>
        <p:txBody>
          <a:bodyPr vert="horz" lIns="91360" tIns="45679" rIns="91360" bIns="45679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15375" y="9371285"/>
            <a:ext cx="2918830" cy="493316"/>
          </a:xfrm>
          <a:prstGeom prst="rect">
            <a:avLst/>
          </a:prstGeom>
        </p:spPr>
        <p:txBody>
          <a:bodyPr vert="horz" lIns="91360" tIns="45679" rIns="91360" bIns="45679" rtlCol="0" anchor="b"/>
          <a:lstStyle>
            <a:lvl1pPr algn="r">
              <a:defRPr sz="1200"/>
            </a:lvl1pPr>
          </a:lstStyle>
          <a:p>
            <a:fld id="{AFA9F058-1A62-4549-A72F-E20E023AA365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8781352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3316"/>
          </a:xfrm>
          <a:prstGeom prst="rect">
            <a:avLst/>
          </a:prstGeom>
        </p:spPr>
        <p:txBody>
          <a:bodyPr vert="horz" lIns="91360" tIns="45679" rIns="91360" bIns="45679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3316"/>
          </a:xfrm>
          <a:prstGeom prst="rect">
            <a:avLst/>
          </a:prstGeom>
        </p:spPr>
        <p:txBody>
          <a:bodyPr vert="horz" lIns="91360" tIns="45679" rIns="91360" bIns="45679" rtlCol="0"/>
          <a:lstStyle>
            <a:lvl1pPr algn="r">
              <a:defRPr sz="1200"/>
            </a:lvl1pPr>
          </a:lstStyle>
          <a:p>
            <a:fld id="{D6CED9F4-A636-415C-B6A8-B382EF26CC8C}" type="datetimeFigureOut">
              <a:rPr lang="da-DK" smtClean="0"/>
              <a:t>09-10-2025</a:t>
            </a:fld>
            <a:endParaRPr lang="da-DK" dirty="0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60" tIns="45679" rIns="91360" bIns="45679" rtlCol="0" anchor="ctr"/>
          <a:lstStyle/>
          <a:p>
            <a:endParaRPr lang="da-DK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360" tIns="45679" rIns="91360" bIns="45679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0" cy="493316"/>
          </a:xfrm>
          <a:prstGeom prst="rect">
            <a:avLst/>
          </a:prstGeom>
        </p:spPr>
        <p:txBody>
          <a:bodyPr vert="horz" lIns="91360" tIns="45679" rIns="91360" bIns="45679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0" cy="493316"/>
          </a:xfrm>
          <a:prstGeom prst="rect">
            <a:avLst/>
          </a:prstGeom>
        </p:spPr>
        <p:txBody>
          <a:bodyPr vert="horz" lIns="91360" tIns="45679" rIns="91360" bIns="45679" rtlCol="0" anchor="b"/>
          <a:lstStyle>
            <a:lvl1pPr algn="r">
              <a:defRPr sz="1200"/>
            </a:lvl1pPr>
          </a:lstStyle>
          <a:p>
            <a:fld id="{8C012B9D-1C60-4C0A-8A2D-4ADA5FC52A62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625811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777295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9991E0-D0A4-DF20-5BAC-1296657576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D842DFB2-B82C-9058-36B9-A4011F1646B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858D9769-A331-F320-6787-2F3BA47D76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36986">
              <a:defRPr/>
            </a:pPr>
            <a:r>
              <a:rPr lang="da-DK" u="none" dirty="0"/>
              <a:t>AI </a:t>
            </a:r>
            <a:r>
              <a:rPr lang="da-DK" u="none" dirty="0" err="1"/>
              <a:t>Act</a:t>
            </a:r>
            <a:r>
              <a:rPr lang="da-DK" u="none" dirty="0"/>
              <a:t>. art. 3(1) + </a:t>
            </a:r>
            <a:r>
              <a:rPr lang="da-DK" u="none" dirty="0" err="1"/>
              <a:t>Annex</a:t>
            </a:r>
            <a:r>
              <a:rPr lang="da-DK" u="none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33228519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CCFE77-2494-2A58-475C-B3F25C5E31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54D382FC-4783-35BF-919E-BD128AA375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69367043-FCF3-3493-84B2-DE3BC6B7DC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36986">
              <a:defRPr/>
            </a:pPr>
            <a:r>
              <a:rPr lang="da-DK" u="none" dirty="0"/>
              <a:t>AI </a:t>
            </a:r>
            <a:r>
              <a:rPr lang="da-DK" u="none" dirty="0" err="1"/>
              <a:t>Act</a:t>
            </a:r>
            <a:r>
              <a:rPr lang="da-DK" u="none" dirty="0"/>
              <a:t>. art. 3(1) + </a:t>
            </a:r>
            <a:r>
              <a:rPr lang="da-DK" u="none" dirty="0" err="1"/>
              <a:t>Annex</a:t>
            </a:r>
            <a:r>
              <a:rPr lang="da-DK" u="none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21654162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35D2AF-C4D9-3691-FFE7-1B6708127E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4D041AE0-AC20-9FF5-BA76-2FA0482E67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6594B58C-D48A-F0D2-A0DE-258BF2C590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36986">
              <a:defRPr/>
            </a:pPr>
            <a:r>
              <a:rPr lang="da-DK" u="none" dirty="0"/>
              <a:t>AI </a:t>
            </a:r>
            <a:r>
              <a:rPr lang="da-DK" u="none" dirty="0" err="1"/>
              <a:t>Act</a:t>
            </a:r>
            <a:r>
              <a:rPr lang="da-DK" u="none" dirty="0"/>
              <a:t>. art. 3(1) + </a:t>
            </a:r>
            <a:r>
              <a:rPr lang="da-DK" u="none" dirty="0" err="1"/>
              <a:t>Annex</a:t>
            </a:r>
            <a:r>
              <a:rPr lang="da-DK" u="none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32571268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E5354-1DCD-EE49-2DCC-1D3756D34F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0F2251E2-538B-0F8E-5A34-38CEF03416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33B185B9-EF07-397F-9857-2D342B9D1A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36986">
              <a:defRPr/>
            </a:pPr>
            <a:r>
              <a:rPr lang="da-DK" u="none" dirty="0"/>
              <a:t>AI </a:t>
            </a:r>
            <a:r>
              <a:rPr lang="da-DK" u="none" dirty="0" err="1"/>
              <a:t>Act</a:t>
            </a:r>
            <a:r>
              <a:rPr lang="da-DK" u="none" dirty="0"/>
              <a:t>. art. 3(1) + </a:t>
            </a:r>
            <a:r>
              <a:rPr lang="da-DK" u="none" dirty="0" err="1"/>
              <a:t>Annex</a:t>
            </a:r>
            <a:r>
              <a:rPr lang="da-DK" u="none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10714889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4B6F9F-ADA2-F216-9A27-28AB79ECCB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465135A4-00A1-642B-DBB5-8F49A8F8D2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0B5978B4-E304-172A-0A10-D117F34D02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36986">
              <a:defRPr/>
            </a:pPr>
            <a:r>
              <a:rPr lang="da-DK" u="none" dirty="0"/>
              <a:t>AI </a:t>
            </a:r>
            <a:r>
              <a:rPr lang="da-DK" u="none" dirty="0" err="1"/>
              <a:t>Act</a:t>
            </a:r>
            <a:r>
              <a:rPr lang="da-DK" u="none" dirty="0"/>
              <a:t>. art. 3(1) + </a:t>
            </a:r>
            <a:r>
              <a:rPr lang="da-DK" u="none" dirty="0" err="1"/>
              <a:t>Annex</a:t>
            </a:r>
            <a:r>
              <a:rPr lang="da-DK" u="none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41108361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D2A94F-5B2D-21F4-583B-C0E1F4D630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59477CDA-75B2-A71E-1FAB-A19826FE1E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816AAA11-377E-1C44-27F0-AE14DD2FDE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36986">
              <a:defRPr/>
            </a:pPr>
            <a:r>
              <a:rPr lang="da-DK" u="none" dirty="0"/>
              <a:t>AI </a:t>
            </a:r>
            <a:r>
              <a:rPr lang="da-DK" u="none" dirty="0" err="1"/>
              <a:t>Act</a:t>
            </a:r>
            <a:r>
              <a:rPr lang="da-DK" u="none" dirty="0"/>
              <a:t>. art. 3(1) + </a:t>
            </a:r>
            <a:r>
              <a:rPr lang="da-DK" u="none" dirty="0" err="1"/>
              <a:t>Annex</a:t>
            </a:r>
            <a:r>
              <a:rPr lang="da-DK" u="none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16433801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ED3B3B-D84C-F732-9745-92196A271C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7CA5B5C1-FF28-DE40-50EB-B0DDB1683F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A8F8EF55-3E38-4C59-95B5-102894C07B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36986">
              <a:defRPr/>
            </a:pPr>
            <a:r>
              <a:rPr lang="da-DK" u="none" dirty="0"/>
              <a:t>AI </a:t>
            </a:r>
            <a:r>
              <a:rPr lang="da-DK" u="none" dirty="0" err="1"/>
              <a:t>Act</a:t>
            </a:r>
            <a:r>
              <a:rPr lang="da-DK" u="none" dirty="0"/>
              <a:t>. art. 3(1) + </a:t>
            </a:r>
            <a:r>
              <a:rPr lang="da-DK" u="none" dirty="0" err="1"/>
              <a:t>Annex</a:t>
            </a:r>
            <a:r>
              <a:rPr lang="da-DK" u="none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9383885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69547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38C241-C6DF-E70E-A7D4-05F48E9DE7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B280F779-3523-6600-2214-13A3EBDCD5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BE841998-C43D-6EDA-D133-000BEEEA0F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36986">
              <a:defRPr/>
            </a:pPr>
            <a:r>
              <a:rPr lang="da-DK" u="none" dirty="0"/>
              <a:t>AI </a:t>
            </a:r>
            <a:r>
              <a:rPr lang="da-DK" u="none" dirty="0" err="1"/>
              <a:t>Act</a:t>
            </a:r>
            <a:r>
              <a:rPr lang="da-DK" u="none" dirty="0"/>
              <a:t>. art. 3(1) + </a:t>
            </a:r>
            <a:r>
              <a:rPr lang="da-DK" u="none" dirty="0" err="1"/>
              <a:t>Annex</a:t>
            </a:r>
            <a:r>
              <a:rPr lang="da-DK" u="none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22108722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28004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133444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90060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B84872-4B85-E052-2A74-E6B336C2A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1467E6B1-859D-C4B2-C9D7-219184301A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ADBA551B-1838-C531-1C14-29A01012D9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43795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296B6A-27B5-9022-98F8-D6474096C1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661AF6B2-6368-FFC1-1622-70CB604B33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DFE23845-D912-39DD-4288-61641355B8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561925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9CDDDF-7157-1AB7-A637-3908111041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E5FF1AD6-EAF6-BB56-C917-BEC39D9EEF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48BE448A-ABB8-E554-3CAF-AB9EA93BAE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42618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CE98E3-A94C-CEEA-7488-DA7944CCC0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CFAEADE1-B731-8EAC-331B-46ED3BDA2D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B448605B-5337-C88E-313D-612B80AD86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00773">
              <a:defRPr/>
            </a:pPr>
            <a:r>
              <a:rPr lang="da-DK" u="none" dirty="0"/>
              <a:t>AI </a:t>
            </a:r>
            <a:r>
              <a:rPr lang="da-DK" u="none" dirty="0" err="1"/>
              <a:t>Act</a:t>
            </a:r>
            <a:r>
              <a:rPr lang="da-DK" u="none" dirty="0"/>
              <a:t>. art. 3(1) + </a:t>
            </a:r>
            <a:r>
              <a:rPr lang="da-DK" u="none" dirty="0" err="1"/>
              <a:t>Annex</a:t>
            </a:r>
            <a:r>
              <a:rPr lang="da-DK" u="none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24800425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02FF78-1515-D249-B34A-CEF918A9D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917D2573-B57D-C6AD-30A3-7F884782A5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D07F595E-9E39-2910-2C7E-72386D74D4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36986">
              <a:defRPr/>
            </a:pPr>
            <a:r>
              <a:rPr lang="da-DK" u="none" dirty="0"/>
              <a:t>AI </a:t>
            </a:r>
            <a:r>
              <a:rPr lang="da-DK" u="none" dirty="0" err="1"/>
              <a:t>Act</a:t>
            </a:r>
            <a:r>
              <a:rPr lang="da-DK" u="none" dirty="0"/>
              <a:t>. art. 3(1) + </a:t>
            </a:r>
            <a:r>
              <a:rPr lang="da-DK" u="none" dirty="0" err="1"/>
              <a:t>Annex</a:t>
            </a:r>
            <a:r>
              <a:rPr lang="da-DK" u="none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19762931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2090D3-9A76-84A6-E35B-32C9DC586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232DAD49-8EEB-4C03-BBC7-D0837039C8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881B5DB0-5DBF-B33E-3B05-C62FB49B45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36986">
              <a:defRPr/>
            </a:pPr>
            <a:r>
              <a:rPr lang="da-DK" u="none" dirty="0"/>
              <a:t>AI </a:t>
            </a:r>
            <a:r>
              <a:rPr lang="da-DK" u="none" dirty="0" err="1"/>
              <a:t>Act</a:t>
            </a:r>
            <a:r>
              <a:rPr lang="da-DK" u="none" dirty="0"/>
              <a:t>. art. 3(1) + </a:t>
            </a:r>
            <a:r>
              <a:rPr lang="da-DK" u="none" dirty="0" err="1"/>
              <a:t>Annex</a:t>
            </a:r>
            <a:r>
              <a:rPr lang="da-DK" u="none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20523324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02FF78-1515-D249-B34A-CEF918A9D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917D2573-B57D-C6AD-30A3-7F884782A5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D07F595E-9E39-2910-2C7E-72386D74D4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36986">
              <a:defRPr/>
            </a:pPr>
            <a:r>
              <a:rPr lang="da-DK" u="none"/>
              <a:t>AI </a:t>
            </a:r>
            <a:r>
              <a:rPr lang="da-DK" u="none" err="1"/>
              <a:t>Act</a:t>
            </a:r>
            <a:r>
              <a:rPr lang="da-DK" u="none"/>
              <a:t>. art. 3(1) + </a:t>
            </a:r>
            <a:r>
              <a:rPr lang="da-DK" u="none" err="1"/>
              <a:t>Annex</a:t>
            </a:r>
            <a:r>
              <a:rPr lang="da-DK" u="none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19762931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9.xml"/><Relationship Id="rId6" Type="http://schemas.openxmlformats.org/officeDocument/2006/relationships/image" Target="../media/image8.emf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0.xml"/><Relationship Id="rId6" Type="http://schemas.openxmlformats.org/officeDocument/2006/relationships/image" Target="../media/image6.emf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1.xml"/><Relationship Id="rId4" Type="http://schemas.openxmlformats.org/officeDocument/2006/relationships/image" Target="../media/image7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2.xml"/><Relationship Id="rId4" Type="http://schemas.openxmlformats.org/officeDocument/2006/relationships/image" Target="../media/image7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3.xml"/><Relationship Id="rId4" Type="http://schemas.openxmlformats.org/officeDocument/2006/relationships/image" Target="../media/image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4" Type="http://schemas.openxmlformats.org/officeDocument/2006/relationships/image" Target="../media/image13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Relationship Id="rId4" Type="http://schemas.openxmlformats.org/officeDocument/2006/relationships/image" Target="../media/image7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6.xml"/><Relationship Id="rId4" Type="http://schemas.openxmlformats.org/officeDocument/2006/relationships/image" Target="../media/image7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7.xml"/><Relationship Id="rId4" Type="http://schemas.openxmlformats.org/officeDocument/2006/relationships/image" Target="../media/image7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8.xml"/><Relationship Id="rId4" Type="http://schemas.openxmlformats.org/officeDocument/2006/relationships/image" Target="../media/image7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9.xml"/><Relationship Id="rId4" Type="http://schemas.openxmlformats.org/officeDocument/2006/relationships/image" Target="../media/image7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0.xml"/><Relationship Id="rId4" Type="http://schemas.openxmlformats.org/officeDocument/2006/relationships/image" Target="../media/image7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1.xml"/><Relationship Id="rId4" Type="http://schemas.openxmlformats.org/officeDocument/2006/relationships/image" Target="../media/image7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2.xml"/><Relationship Id="rId4" Type="http://schemas.openxmlformats.org/officeDocument/2006/relationships/image" Target="../media/image7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3.xml"/><Relationship Id="rId4" Type="http://schemas.openxmlformats.org/officeDocument/2006/relationships/image" Target="../media/image7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4.xml"/><Relationship Id="rId4" Type="http://schemas.openxmlformats.org/officeDocument/2006/relationships/image" Target="../media/image7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5.xml"/><Relationship Id="rId4" Type="http://schemas.openxmlformats.org/officeDocument/2006/relationships/image" Target="../media/image7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6.xml"/><Relationship Id="rId4" Type="http://schemas.openxmlformats.org/officeDocument/2006/relationships/image" Target="../media/image7.emf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7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7.emf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8.xml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1.xml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2.xml"/><Relationship Id="rId4" Type="http://schemas.openxmlformats.org/officeDocument/2006/relationships/image" Target="../media/image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3.xml"/><Relationship Id="rId4" Type="http://schemas.openxmlformats.org/officeDocument/2006/relationships/image" Target="../media/image7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4.xml"/><Relationship Id="rId6" Type="http://schemas.openxmlformats.org/officeDocument/2006/relationships/image" Target="../media/image8.emf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5.xml"/><Relationship Id="rId5" Type="http://schemas.openxmlformats.org/officeDocument/2006/relationships/image" Target="../media/image6.emf"/><Relationship Id="rId4" Type="http://schemas.openxmlformats.org/officeDocument/2006/relationships/image" Target="../media/image7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6.xml"/><Relationship Id="rId4" Type="http://schemas.openxmlformats.org/officeDocument/2006/relationships/image" Target="../media/image7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7.xml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8.xml"/><Relationship Id="rId6" Type="http://schemas.openxmlformats.org/officeDocument/2006/relationships/image" Target="../media/image6.emf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9.xml"/><Relationship Id="rId5" Type="http://schemas.openxmlformats.org/officeDocument/2006/relationships/image" Target="../media/image6.emf"/><Relationship Id="rId4" Type="http://schemas.openxmlformats.org/officeDocument/2006/relationships/image" Target="../media/image7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0.x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1.xml"/><Relationship Id="rId4" Type="http://schemas.openxmlformats.org/officeDocument/2006/relationships/image" Target="../media/image7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2.xml"/><Relationship Id="rId5" Type="http://schemas.openxmlformats.org/officeDocument/2006/relationships/image" Target="../media/image6.emf"/><Relationship Id="rId4" Type="http://schemas.openxmlformats.org/officeDocument/2006/relationships/image" Target="../media/image7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3.xml"/><Relationship Id="rId4" Type="http://schemas.openxmlformats.org/officeDocument/2006/relationships/image" Target="../media/image7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4.xml"/><Relationship Id="rId4" Type="http://schemas.openxmlformats.org/officeDocument/2006/relationships/image" Target="../media/image7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5.xml"/><Relationship Id="rId4" Type="http://schemas.openxmlformats.org/officeDocument/2006/relationships/image" Target="../media/image7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6.xml"/><Relationship Id="rId4" Type="http://schemas.openxmlformats.org/officeDocument/2006/relationships/image" Target="../media/image7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7.xml"/><Relationship Id="rId4" Type="http://schemas.openxmlformats.org/officeDocument/2006/relationships/image" Target="../media/image7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8.xml"/><Relationship Id="rId4" Type="http://schemas.openxmlformats.org/officeDocument/2006/relationships/image" Target="../media/image7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9.xml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0.xml"/><Relationship Id="rId5" Type="http://schemas.openxmlformats.org/officeDocument/2006/relationships/image" Target="../media/image12.png"/><Relationship Id="rId4" Type="http://schemas.openxmlformats.org/officeDocument/2006/relationships/image" Target="../media/image7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1.xml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2.xml"/><Relationship Id="rId5" Type="http://schemas.openxmlformats.org/officeDocument/2006/relationships/image" Target="../media/image12.png"/><Relationship Id="rId4" Type="http://schemas.openxmlformats.org/officeDocument/2006/relationships/image" Target="../media/image7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3.xml"/><Relationship Id="rId6" Type="http://schemas.openxmlformats.org/officeDocument/2006/relationships/image" Target="../media/image8.emf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4.xml"/><Relationship Id="rId6" Type="http://schemas.openxmlformats.org/officeDocument/2006/relationships/image" Target="../media/image6.emf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5.xml"/><Relationship Id="rId4" Type="http://schemas.openxmlformats.org/officeDocument/2006/relationships/image" Target="../media/image7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6.xml"/><Relationship Id="rId4" Type="http://schemas.openxmlformats.org/officeDocument/2006/relationships/image" Target="../media/image7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7.xml"/><Relationship Id="rId4" Type="http://schemas.openxmlformats.org/officeDocument/2006/relationships/image" Target="../media/image7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8.xml"/><Relationship Id="rId4" Type="http://schemas.openxmlformats.org/officeDocument/2006/relationships/image" Target="../media/image13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9.xml"/><Relationship Id="rId4" Type="http://schemas.openxmlformats.org/officeDocument/2006/relationships/image" Target="../media/image7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0.xml"/><Relationship Id="rId4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1.xml"/><Relationship Id="rId4" Type="http://schemas.openxmlformats.org/officeDocument/2006/relationships/image" Target="../media/image7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2.xml"/><Relationship Id="rId4" Type="http://schemas.openxmlformats.org/officeDocument/2006/relationships/image" Target="../media/image7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3.xml"/><Relationship Id="rId4" Type="http://schemas.openxmlformats.org/officeDocument/2006/relationships/image" Target="../media/image7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4.xml"/><Relationship Id="rId4" Type="http://schemas.openxmlformats.org/officeDocument/2006/relationships/image" Target="../media/image7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5.xml"/><Relationship Id="rId4" Type="http://schemas.openxmlformats.org/officeDocument/2006/relationships/image" Target="../media/image7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6.xml"/><Relationship Id="rId4" Type="http://schemas.openxmlformats.org/officeDocument/2006/relationships/image" Target="../media/image7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7.xml"/><Relationship Id="rId4" Type="http://schemas.openxmlformats.org/officeDocument/2006/relationships/image" Target="../media/image7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8.xml"/><Relationship Id="rId4" Type="http://schemas.openxmlformats.org/officeDocument/2006/relationships/image" Target="../media/image7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9.xml"/><Relationship Id="rId4" Type="http://schemas.openxmlformats.org/officeDocument/2006/relationships/image" Target="../media/image7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0.xml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7.emf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2.xml"/><Relationship Id="rId4" Type="http://schemas.openxmlformats.org/officeDocument/2006/relationships/image" Target="../media/image7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6" Type="http://schemas.openxmlformats.org/officeDocument/2006/relationships/image" Target="../media/image8.emf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6" Type="http://schemas.openxmlformats.org/officeDocument/2006/relationships/image" Target="../media/image6.emf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6.emf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7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7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5" Type="http://schemas.openxmlformats.org/officeDocument/2006/relationships/image" Target="../media/image12.png"/><Relationship Id="rId4" Type="http://schemas.openxmlformats.org/officeDocument/2006/relationships/image" Target="../media/image7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12.png"/><Relationship Id="rId4" Type="http://schemas.openxmlformats.org/officeDocument/2006/relationships/image" Target="../media/image7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6" Type="http://schemas.openxmlformats.org/officeDocument/2006/relationships/image" Target="../media/image8.emf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6" Type="http://schemas.openxmlformats.org/officeDocument/2006/relationships/image" Target="../media/image6.emf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7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7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7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7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7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7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7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7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4" Type="http://schemas.openxmlformats.org/officeDocument/2006/relationships/image" Target="../media/image7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7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7.em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7.emf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7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.xml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.xml"/><Relationship Id="rId4" Type="http://schemas.openxmlformats.org/officeDocument/2006/relationships/image" Target="../media/image7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Relationship Id="rId6" Type="http://schemas.openxmlformats.org/officeDocument/2006/relationships/image" Target="../media/image8.emf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.xml"/><Relationship Id="rId5" Type="http://schemas.openxmlformats.org/officeDocument/2006/relationships/image" Target="../media/image6.emf"/><Relationship Id="rId4" Type="http://schemas.openxmlformats.org/officeDocument/2006/relationships/image" Target="../media/image7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4" Type="http://schemas.openxmlformats.org/officeDocument/2006/relationships/image" Target="../media/image7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.xml"/><Relationship Id="rId4" Type="http://schemas.openxmlformats.org/officeDocument/2006/relationships/image" Target="../media/image7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.xml"/><Relationship Id="rId6" Type="http://schemas.openxmlformats.org/officeDocument/2006/relationships/image" Target="../media/image6.emf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.xml"/><Relationship Id="rId5" Type="http://schemas.openxmlformats.org/officeDocument/2006/relationships/image" Target="../media/image6.emf"/><Relationship Id="rId4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.xml"/><Relationship Id="rId4" Type="http://schemas.openxmlformats.org/officeDocument/2006/relationships/image" Target="../media/image7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7.xml"/><Relationship Id="rId4" Type="http://schemas.openxmlformats.org/officeDocument/2006/relationships/image" Target="../media/image7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Relationship Id="rId5" Type="http://schemas.openxmlformats.org/officeDocument/2006/relationships/image" Target="../media/image6.emf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9.xml"/><Relationship Id="rId4" Type="http://schemas.openxmlformats.org/officeDocument/2006/relationships/image" Target="../media/image7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0.xml"/><Relationship Id="rId4" Type="http://schemas.openxmlformats.org/officeDocument/2006/relationships/image" Target="../media/image7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1.xml"/><Relationship Id="rId4" Type="http://schemas.openxmlformats.org/officeDocument/2006/relationships/image" Target="../media/image7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2.xml"/><Relationship Id="rId4" Type="http://schemas.openxmlformats.org/officeDocument/2006/relationships/image" Target="../media/image7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3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4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5" Type="http://schemas.openxmlformats.org/officeDocument/2006/relationships/image" Target="../media/image12.png"/><Relationship Id="rId4" Type="http://schemas.openxmlformats.org/officeDocument/2006/relationships/image" Target="../media/image7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8.xml"/><Relationship Id="rId5" Type="http://schemas.openxmlformats.org/officeDocument/2006/relationships/image" Target="../media/image12.png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">
    <p:bg>
      <p:bgPr>
        <a:solidFill>
          <a:srgbClr val="D02448">
            <a:alpha val="9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>
            <a:extLst>
              <a:ext uri="{FF2B5EF4-FFF2-40B4-BE49-F238E27FC236}">
                <a16:creationId xmlns:a16="http://schemas.microsoft.com/office/drawing/2014/main" id="{BBF45068-6775-BDE7-E71A-105D908A2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87"/>
          <a:stretch/>
        </p:blipFill>
        <p:spPr>
          <a:xfrm>
            <a:off x="17665" y="9359"/>
            <a:ext cx="12192000" cy="6848641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9304617C-CAA9-E16A-123D-88050B4AFE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472" y="2348880"/>
            <a:ext cx="2834356" cy="1080120"/>
          </a:xfrm>
          <a:prstGeom prst="rect">
            <a:avLst/>
          </a:prstGeom>
        </p:spPr>
      </p:pic>
      <p:sp>
        <p:nvSpPr>
          <p:cNvPr id="9" name="Titel 2">
            <a:extLst>
              <a:ext uri="{FF2B5EF4-FFF2-40B4-BE49-F238E27FC236}">
                <a16:creationId xmlns:a16="http://schemas.microsoft.com/office/drawing/2014/main" id="{BCD58561-50C0-2EC4-D555-ECCB4373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3950" y="3861048"/>
            <a:ext cx="10363200" cy="10081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 af Focus Advokater</a:t>
            </a:r>
          </a:p>
        </p:txBody>
      </p:sp>
      <p:sp>
        <p:nvSpPr>
          <p:cNvPr id="11" name="Undertitel 3">
            <a:extLst>
              <a:ext uri="{FF2B5EF4-FFF2-40B4-BE49-F238E27FC236}">
                <a16:creationId xmlns:a16="http://schemas.microsoft.com/office/drawing/2014/main" id="{8187178B-CC21-9C26-1CBB-F35F4B7BFA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64631" y="4581128"/>
            <a:ext cx="4968551" cy="432048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rgbClr val="E6D1AC"/>
                </a:solidFill>
              </a:defRPr>
            </a:lvl1pPr>
          </a:lstStyle>
          <a:p>
            <a:endParaRPr lang="da-DK" sz="280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620689"/>
            <a:ext cx="10972800" cy="5505476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pic>
        <p:nvPicPr>
          <p:cNvPr id="11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 rot="5400000">
            <a:off x="-3016547" y="3015000"/>
            <a:ext cx="6858000" cy="828000"/>
          </a:xfrm>
          <a:prstGeom prst="rect">
            <a:avLst/>
          </a:prstGeom>
        </p:spPr>
      </p:pic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91549" y="5410628"/>
            <a:ext cx="1008000" cy="384129"/>
          </a:xfrm>
          <a:prstGeom prst="rect">
            <a:avLst/>
          </a:prstGeom>
        </p:spPr>
      </p:pic>
      <p:sp>
        <p:nvSpPr>
          <p:cNvPr id="7" name="Pladsholder til slidenummer 4"/>
          <p:cNvSpPr>
            <a:spLocks noGrp="1"/>
          </p:cNvSpPr>
          <p:nvPr>
            <p:ph type="sldNum" sz="quarter" idx="4"/>
          </p:nvPr>
        </p:nvSpPr>
        <p:spPr>
          <a:xfrm rot="5400000">
            <a:off x="-2599063" y="3386197"/>
            <a:ext cx="60040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5B1AB66-FDE0-0830-9A18-92EB4F309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142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B1AB66-FDE0-0830-9A18-92EB4F309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2A563AF-A1C8-48CE-A410-D666B6D1C3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0" name="text" descr="{&quot;templafy&quot;:{&quot;id&quot;:&quot;2e049d0a-0562-4953-8e9e-97db8947ec37&quot;}}" title="text">
            <a:extLst>
              <a:ext uri="{FF2B5EF4-FFF2-40B4-BE49-F238E27FC236}">
                <a16:creationId xmlns:a16="http://schemas.microsoft.com/office/drawing/2014/main" id="{83A88521-760D-43A1-9852-2F3991819E38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 rtl="0"/>
            <a:r>
              <a:rPr lang="da-DK" sz="1000" noProof="0" dirty="0"/>
              <a:t>Falck.com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476883"/>
            <a:ext cx="11037889" cy="1047777"/>
          </a:xfrm>
        </p:spPr>
        <p:txBody>
          <a:bodyPr vert="horz" anchor="b" anchorCtr="0"/>
          <a:lstStyle>
            <a:lvl1pPr algn="l" rtl="0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add tex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69270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7AEA124-DE47-B7F7-35D8-565FCD2238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26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AEA124-DE47-B7F7-35D8-565FCD2238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text">
            <a:extLst>
              <a:ext uri="{FF2B5EF4-FFF2-40B4-BE49-F238E27FC236}">
                <a16:creationId xmlns:a16="http://schemas.microsoft.com/office/drawing/2014/main" id="{86C0A98B-F9BD-4B21-B9C1-2687709CF6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517184"/>
            <a:ext cx="11037889" cy="1007476"/>
          </a:xfrm>
        </p:spPr>
        <p:txBody>
          <a:bodyPr vert="horz" anchor="b" anchorCtr="0"/>
          <a:lstStyle>
            <a:lvl1pPr algn="l" rtl="0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add tex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text" descr="{&quot;templafy&quot;:{&quot;id&quot;:&quot;93463bbf-96eb-45a3-a210-90c78230889a&quot;}}" title="text">
            <a:extLst>
              <a:ext uri="{FF2B5EF4-FFF2-40B4-BE49-F238E27FC236}">
                <a16:creationId xmlns:a16="http://schemas.microsoft.com/office/drawing/2014/main" id="{30EEE3F4-AE25-4B87-AD35-F372D7B04255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 rtl="0"/>
            <a:r>
              <a:rPr lang="da-DK" sz="1000" noProof="0" dirty="0"/>
              <a:t>Falck.com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4008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DC66A06-7693-8F7C-2D16-2B6E4679FE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77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C66A06-7693-8F7C-2D16-2B6E4679FE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C1EE6D30-DAE4-43B3-A64F-3F8C0D304EC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45EE98-2F11-4C72-A6C3-211D8F63C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7999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10728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25E852A-DBD2-478B-BD84-6E9A93D538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2CCCC37-F80F-4624-B1A3-A6239A798F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C29B692-1416-40D2-932B-BB1E3ADB50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4CE41F0-384B-4BAC-86F6-8DF6605241E1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5861821"/>
      </p:ext>
    </p:extLst>
  </p:cSld>
  <p:clrMapOvr>
    <a:masterClrMapping/>
  </p:clrMapOvr>
  <p:hf hdr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5F50C14-C262-71D1-6EF3-0098C52594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917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F50C14-C262-71D1-6EF3-0098C525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A3EC5-DDB9-42AD-9603-3E4C0CF8F05B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0113055"/>
      </p:ext>
    </p:extLst>
  </p:cSld>
  <p:clrMapOvr>
    <a:masterClrMapping/>
  </p:clrMapOvr>
  <p:hf hdr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16BBA78-1D04-A8F6-8F7D-E38F41F707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510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6BBA78-1D04-A8F6-8F7D-E38F41F70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3169446"/>
      </p:ext>
    </p:extLst>
  </p:cSld>
  <p:clrMapOvr>
    <a:masterClrMapping/>
  </p:clrMapOvr>
  <p:hf hdr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, column line,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EC252C-AB60-9CBF-A073-15709F035A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93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0EC252C-AB60-9CBF-A073-15709F035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2359662"/>
            <a:ext cx="5184000" cy="3537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3" name="Text Placeholder 41">
            <a:extLst>
              <a:ext uri="{FF2B5EF4-FFF2-40B4-BE49-F238E27FC236}">
                <a16:creationId xmlns:a16="http://schemas.microsoft.com/office/drawing/2014/main" id="{8A4EE466-37DF-4A52-9FF6-B5BE436D8A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18675" y="1916113"/>
            <a:ext cx="5184325" cy="314340"/>
          </a:xfrm>
        </p:spPr>
        <p:txBody>
          <a:bodyPr/>
          <a:lstStyle>
            <a:lvl1pPr marL="0" indent="0" rtl="0">
              <a:buFontTx/>
              <a:buNone/>
              <a:defRPr sz="2000" b="1"/>
            </a:lvl1pPr>
            <a:lvl2pPr marL="0" indent="0">
              <a:buFontTx/>
              <a:buNone/>
              <a:defRPr sz="2000" b="1"/>
            </a:lvl2pPr>
            <a:lvl3pPr marL="0" indent="0">
              <a:buFontTx/>
              <a:buNone/>
              <a:defRPr sz="2000" b="1"/>
            </a:lvl3pPr>
            <a:lvl4pPr marL="0" indent="0">
              <a:buFontTx/>
              <a:buNone/>
              <a:defRPr sz="2000" b="1"/>
            </a:lvl4pPr>
            <a:lvl5pPr marL="0" indent="0">
              <a:buFontTx/>
              <a:buNone/>
              <a:defRPr sz="2000" b="1"/>
            </a:lvl5pPr>
          </a:lstStyle>
          <a:p>
            <a:pPr lvl="0"/>
            <a:r>
              <a:rPr lang="da-DK"/>
              <a:t>Click to add chart 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6898052"/>
      </p:ext>
    </p:extLst>
  </p:cSld>
  <p:clrMapOvr>
    <a:masterClrMapping/>
  </p:clrMapOvr>
  <p:hf hdr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+ 2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4B22252-1C74-2681-19F3-4DC702D09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061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B22252-1C74-2681-19F3-4DC702D09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000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73200" y="1916113"/>
            <a:ext cx="70308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910C70-B023-4A8C-9926-330390E1D279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7548388"/>
      </p:ext>
    </p:extLst>
  </p:cSld>
  <p:clrMapOvr>
    <a:masterClrMapping/>
  </p:clrMapOvr>
  <p:hf hdr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+ 1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5637755-3BD1-910A-051F-4F4B3299F6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8641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637755-3BD1-910A-051F-4F4B3299F6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65799" y="1916113"/>
            <a:ext cx="33372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4675" y="1916113"/>
            <a:ext cx="70308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270460A-F26E-4CEE-9E4F-84CF192002D8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3606387"/>
      </p:ext>
    </p:extLst>
  </p:cSld>
  <p:clrMapOvr>
    <a:masterClrMapping/>
  </p:clrMapOvr>
  <p:hf hdr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85DA375-A735-234A-6DF3-A8A3FEE11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7396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5DA375-A735-234A-6DF3-A8A3FEE11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0074" y="1702235"/>
            <a:ext cx="3337200" cy="35999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70074" y="2177294"/>
            <a:ext cx="3337200" cy="3723351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5475" y="1702235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965475" y="2177295"/>
            <a:ext cx="33372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DBE936-48E4-4946-BA55-7CCA6953C5C2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02E2EA-3B2C-481D-AB29-010E6BABB039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638847"/>
      </p:ext>
    </p:extLst>
  </p:cSld>
  <p:clrMapOvr>
    <a:masterClrMapping/>
  </p:clrMapOvr>
  <p:hf hdr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C9FD3A6-AB05-B305-EFE7-EA52AC1791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082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9FD3A6-AB05-B305-EFE7-EA52AC179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24120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6674" y="1702235"/>
            <a:ext cx="2412000" cy="35999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346674" y="2177294"/>
            <a:ext cx="2412000" cy="3723351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2412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90675" y="1702235"/>
            <a:ext cx="2412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90675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BCFC9D7-2B4D-418F-A009-782B8B18318B}"/>
              </a:ext>
            </a:extLst>
          </p:cNvPr>
          <p:cNvCxnSpPr>
            <a:cxnSpLocks/>
          </p:cNvCxnSpPr>
          <p:nvPr userDrawn="1"/>
        </p:nvCxnSpPr>
        <p:spPr>
          <a:xfrm>
            <a:off x="3166670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5C54820-B41B-489C-B6C4-859D35934E6B}"/>
              </a:ext>
            </a:extLst>
          </p:cNvPr>
          <p:cNvCxnSpPr>
            <a:cxnSpLocks/>
          </p:cNvCxnSpPr>
          <p:nvPr userDrawn="1"/>
        </p:nvCxnSpPr>
        <p:spPr>
          <a:xfrm>
            <a:off x="8710678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4011058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692696"/>
            <a:ext cx="2743200" cy="5413997"/>
          </a:xfrm>
        </p:spPr>
        <p:txBody>
          <a:bodyPr vert="eaVert">
            <a:normAutofit/>
          </a:bodyPr>
          <a:lstStyle>
            <a:lvl1pPr>
              <a:defRPr sz="4000">
                <a:effectLst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1384" y="692696"/>
            <a:ext cx="8438729" cy="5413997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pic>
        <p:nvPicPr>
          <p:cNvPr id="9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 rot="5400000">
            <a:off x="-3039680" y="3015002"/>
            <a:ext cx="6858000" cy="828000"/>
          </a:xfrm>
          <a:prstGeom prst="rect">
            <a:avLst/>
          </a:prstGeom>
        </p:spPr>
      </p:pic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91549" y="5410628"/>
            <a:ext cx="1008000" cy="384129"/>
          </a:xfrm>
          <a:prstGeom prst="rect">
            <a:avLst/>
          </a:prstGeom>
        </p:spPr>
      </p:pic>
      <p:sp>
        <p:nvSpPr>
          <p:cNvPr id="8" name="Pladsholder til slidenummer 4"/>
          <p:cNvSpPr>
            <a:spLocks noGrp="1"/>
          </p:cNvSpPr>
          <p:nvPr>
            <p:ph type="sldNum" sz="quarter" idx="4"/>
          </p:nvPr>
        </p:nvSpPr>
        <p:spPr>
          <a:xfrm rot="5400000">
            <a:off x="-2599063" y="3386197"/>
            <a:ext cx="60040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2FBC295-1875-D0BC-C837-6C15E1F22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6475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FBC295-1875-D0BC-C837-6C15E1F22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51840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5184000" cy="1531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18675" y="3896404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118675" y="4372576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6154675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6805402"/>
      </p:ext>
    </p:extLst>
  </p:cSld>
  <p:clrMapOvr>
    <a:masterClrMapping/>
  </p:clrMapOvr>
  <p:hf hdr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8F8986F-78FB-D110-AE4F-4FFEC415F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222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F8986F-78FB-D110-AE4F-4FFEC415F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57AE8D-72C5-4931-A8B0-B7917C380EB7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3337200" cy="1531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074" y="1702232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70074" y="217778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074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270074" y="4372576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4BF3B2AF-25AE-4998-9DBE-39A7E60534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65475" y="1702232"/>
            <a:ext cx="3337200" cy="360000"/>
          </a:xfrm>
        </p:spPr>
        <p:txBody>
          <a:bodyPr/>
          <a:lstStyle>
            <a:lvl1pPr marL="0" indent="0" rtl="0">
              <a:buNone/>
              <a:defRPr b="1"/>
            </a:lvl1pPr>
            <a:lvl2pPr marL="0" indent="0">
              <a:buNone/>
              <a:defRPr b="1"/>
            </a:lvl2pPr>
            <a:lvl3pPr marL="0" indent="0">
              <a:buNone/>
              <a:defRPr b="1"/>
            </a:lvl3pPr>
            <a:lvl4pPr marL="0" indent="0">
              <a:buNone/>
              <a:defRPr b="1"/>
            </a:lvl4pPr>
            <a:lvl5pPr marL="0" indent="0"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31A70DCD-C870-4287-81E6-19BC8C8C5A5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7965475" y="217713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81706D-79BA-4127-9D29-493107D7D9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65475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36" name="Content Placeholder 35">
            <a:extLst>
              <a:ext uri="{FF2B5EF4-FFF2-40B4-BE49-F238E27FC236}">
                <a16:creationId xmlns:a16="http://schemas.microsoft.com/office/drawing/2014/main" id="{815F6B20-D147-4A52-8D1A-42E532DEFD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965475" y="4372576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42700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613CA1F-1480-49ED-8933-67631F44A4EF}"/>
              </a:ext>
            </a:extLst>
          </p:cNvPr>
          <p:cNvCxnSpPr>
            <a:cxnSpLocks/>
          </p:cNvCxnSpPr>
          <p:nvPr userDrawn="1"/>
        </p:nvCxnSpPr>
        <p:spPr>
          <a:xfrm>
            <a:off x="7965475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3061019"/>
      </p:ext>
    </p:extLst>
  </p:cSld>
  <p:clrMapOvr>
    <a:masterClrMapping/>
  </p:clrMapOvr>
  <p:hf hdr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40CBC96-8412-44B8-335A-869AA50574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671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0CBC96-8412-44B8-335A-869AA50574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20000" y="0"/>
            <a:ext cx="54925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7" y="240213"/>
            <a:ext cx="5184000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5184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2 lines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4674" y="6005475"/>
            <a:ext cx="5183999" cy="176400"/>
          </a:xfrm>
        </p:spPr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3" y="1207052"/>
            <a:ext cx="5184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042536"/>
      </p:ext>
    </p:extLst>
  </p:cSld>
  <p:clrMapOvr>
    <a:masterClrMapping/>
  </p:clrMapOvr>
  <p:hf hdr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550A930-AF8E-DC7F-AB25-6B21A22F5C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413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0A930-AF8E-DC7F-AB25-6B21A22F5C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3337200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683763"/>
            <a:ext cx="33372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69600" y="0"/>
            <a:ext cx="73429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4674" y="6005475"/>
            <a:ext cx="3337200" cy="176400"/>
          </a:xfrm>
        </p:spPr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8639680"/>
      </p:ext>
    </p:extLst>
  </p:cSld>
  <p:clrMapOvr>
    <a:masterClrMapping/>
  </p:clrMapOvr>
  <p:hf hdr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553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54107178"/>
      </p:ext>
    </p:extLst>
  </p:cSld>
  <p:clrMapOvr>
    <a:masterClrMapping/>
  </p:clrMapOvr>
  <p:hf hdr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316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F01F18-084D-0037-62E9-8A92594CE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219734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88133236"/>
      </p:ext>
    </p:extLst>
  </p:cSld>
  <p:clrMapOvr>
    <a:masterClrMapping/>
  </p:clrMapOvr>
  <p:hf hdr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3F623C3-C5B5-F4BE-96B5-7E8D9EC5F0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240" y="535710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</a:t>
            </a:r>
            <a:r>
              <a:rPr lang="da-DK" dirty="0" err="1"/>
              <a:t>Templafy</a:t>
            </a:r>
            <a:r>
              <a:rPr lang="da-DK" dirty="0"/>
              <a:t> Images</a:t>
            </a:r>
            <a:endParaRPr lang="da-DK"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50F96ECF-6DAD-800C-BCD8-FBBA742832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643585" y="535710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</a:t>
            </a:r>
            <a:r>
              <a:rPr lang="da-DK" dirty="0" err="1"/>
              <a:t>Templafy</a:t>
            </a:r>
            <a:r>
              <a:rPr lang="da-DK" dirty="0"/>
              <a:t> Images</a:t>
            </a:r>
            <a:endParaRPr lang="da-DK"/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ED03D981-7F98-57E0-F999-D71B873F1B2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69930" y="535710"/>
            <a:ext cx="2835563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53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F1F9589C-100E-12E6-34B5-5228277CB99E}"/>
              </a:ext>
            </a:extLst>
          </p:cNvPr>
          <p:cNvSpPr txBox="1">
            <a:spLocks/>
          </p:cNvSpPr>
          <p:nvPr userDrawn="1"/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AEAF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Pladsholder til slidenummer 6">
            <a:extLst>
              <a:ext uri="{FF2B5EF4-FFF2-40B4-BE49-F238E27FC236}">
                <a16:creationId xmlns:a16="http://schemas.microsoft.com/office/drawing/2014/main" id="{EAF0ACDC-9961-F377-913B-329491A8BDD1}"/>
              </a:ext>
            </a:extLst>
          </p:cNvPr>
          <p:cNvSpPr txBox="1">
            <a:spLocks/>
          </p:cNvSpPr>
          <p:nvPr userDrawn="1"/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AEAF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3" name="Picture Placeholder 15">
            <a:extLst>
              <a:ext uri="{FF2B5EF4-FFF2-40B4-BE49-F238E27FC236}">
                <a16:creationId xmlns:a16="http://schemas.microsoft.com/office/drawing/2014/main" id="{0265AFEB-9F29-2C12-2B66-F6A395F5D11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17240" y="2473037"/>
            <a:ext cx="4073235" cy="3800765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</a:t>
            </a:r>
            <a:r>
              <a:rPr lang="da-DK" dirty="0" err="1"/>
              <a:t>Templafy</a:t>
            </a:r>
            <a:r>
              <a:rPr lang="da-DK" dirty="0"/>
              <a:t> Images</a:t>
            </a:r>
            <a:endParaRPr lang="da-DK"/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3144865D-4B38-00B5-3CDF-15BD0289CCE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641275" y="4410363"/>
            <a:ext cx="6964218" cy="1870364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2B49A7F9-AB5D-F6A0-140B-DC56F15DA64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638967" y="2473037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  <p:sp>
        <p:nvSpPr>
          <p:cNvPr id="5" name="Picture Placeholder 15">
            <a:extLst>
              <a:ext uri="{FF2B5EF4-FFF2-40B4-BE49-F238E27FC236}">
                <a16:creationId xmlns:a16="http://schemas.microsoft.com/office/drawing/2014/main" id="{0C3C74C0-FF5B-3772-2F34-303E8197709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769930" y="2473037"/>
            <a:ext cx="2835563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16293747"/>
      </p:ext>
    </p:extLst>
  </p:cSld>
  <p:clrMapOvr>
    <a:masterClrMapping/>
  </p:clrMapOvr>
  <p:hf hdr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AAF6E80-2AE8-509F-782D-1B0F8EEF1F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034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AF6E80-2AE8-509F-782D-1B0F8EEF1F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id="{84705215-85BF-4037-8F1F-60423D1500F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dirty="0"/>
              <a:t>Click to add title in max two lines, if two lines, delete subtitle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F4E4B8A-738A-49D8-82C2-F98D597CC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804832D-E38B-4FF8-910F-63F742D91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13C99DE-E8E7-470D-B715-106F7920B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F4E1CA-F7A5-46BD-8840-7FDE4E1671E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611723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CFC550F-0103-DA63-F8B7-B2F5746B6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951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FC550F-0103-DA63-F8B7-B2F5746B6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43040" y="1215574"/>
            <a:ext cx="2786833" cy="4216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br>
              <a:rPr lang="en-GB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corporate picture from Templafy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 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Templafy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e on the right side of the scre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click on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con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.</a:t>
            </a:r>
            <a:endParaRPr lang="da-DK"/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10404055" y="1483655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2302" y="1215574"/>
            <a:ext cx="228036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Text styles</a:t>
            </a:r>
            <a:endParaRPr lang="da-DK" alt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bullet button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bullet button to reaply the correct bullet agai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Slides and layouts</a:t>
            </a: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menu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to insert a new slide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layout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lick on the arrow next to </a:t>
            </a:r>
            <a: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 view a dropdown menu of possible slide layouts.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.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49121" y="2924778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49662" y="2201595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3901" t="45142" r="62601" b="9046"/>
          <a:stretch/>
        </p:blipFill>
        <p:spPr>
          <a:xfrm>
            <a:off x="10404055" y="2726384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855543" y="3915330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855543" y="5243483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460076" y="3536124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85407" y="1215574"/>
            <a:ext cx="2358243" cy="4755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Header and footer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 to apply the changes on all slides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(write the desired text)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only used on one slide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Gridlines</a:t>
            </a:r>
            <a:endParaRPr 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and set tick mark next to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 of guides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Slides and slide elements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dropdown menu or from the buttons in the Templafy pane on the right side of the screen. 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also where you’ll Find the new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ck icons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For guidance on how to use our new icons, go to our brand guidelines in the Falck Brand Portal.</a:t>
            </a:r>
            <a:endParaRPr lang="da-DK"/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74675" y="312083"/>
            <a:ext cx="110743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rtl="0"/>
            <a:r>
              <a:rPr lang="da-DK" sz="28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and tricks – your user guide</a:t>
            </a:r>
            <a:endParaRPr lang="da-DK"/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752" y="424340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855542" y="4678942"/>
            <a:ext cx="475428" cy="176762"/>
          </a:xfrm>
          <a:prstGeom prst="rect">
            <a:avLst/>
          </a:prstGeom>
        </p:spPr>
      </p:pic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D355E5A9-A789-447E-83E7-9F167F2E41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E598E2B2-BC68-46C6-BFC0-A749474A5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3ECE9A96-886A-4574-8BCF-07A9134A5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0465358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CA2E21-8E36-C137-3BC2-B1713FB916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287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CA2E21-8E36-C137-3BC2-B1713FB91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 dirty="0">
                <a:solidFill>
                  <a:schemeClr val="bg1"/>
                </a:solidFill>
              </a:rPr>
              <a:t>If you see any </a:t>
            </a:r>
            <a:r>
              <a:rPr lang="da-DK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da-DK" sz="4400" b="0" i="0" noProof="0" dirty="0">
                <a:solidFill>
                  <a:schemeClr val="bg1"/>
                </a:solidFill>
              </a:rPr>
              <a:t>one</a:t>
            </a:r>
            <a:r>
              <a:rPr lang="da-DK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da-DK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da-DK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da-DK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da-DK" sz="13800" b="1" i="1" noProof="0" dirty="0">
                <a:solidFill>
                  <a:schemeClr val="bg1"/>
                </a:solidFill>
              </a:rPr>
              <a:t>Do not use </a:t>
            </a:r>
            <a:endParaRPr lang="da-DK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  <a:endParaRPr lang="da-DK"/>
          </a:p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854903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bg>
      <p:bgPr>
        <a:solidFill>
          <a:schemeClr val="accent2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7592" y="274638"/>
            <a:ext cx="11103024" cy="1143000"/>
          </a:xfrm>
        </p:spPr>
        <p:txBody>
          <a:bodyPr>
            <a:normAutofit/>
          </a:bodyPr>
          <a:lstStyle>
            <a:lvl1pPr marL="0" algn="l" defTabSz="457200" rtl="0" eaLnBrk="1" latinLnBrk="0" hangingPunct="1">
              <a:spcBef>
                <a:spcPct val="0"/>
              </a:spcBef>
              <a:buNone/>
              <a:defRPr lang="da-DK" sz="4000" b="1" kern="1200" dirty="0">
                <a:solidFill>
                  <a:srgbClr val="E7D2A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cxnSp>
        <p:nvCxnSpPr>
          <p:cNvPr id="5" name="Lige forbindelse 4"/>
          <p:cNvCxnSpPr/>
          <p:nvPr userDrawn="1"/>
        </p:nvCxnSpPr>
        <p:spPr>
          <a:xfrm>
            <a:off x="623392" y="1196752"/>
            <a:ext cx="1224000" cy="0"/>
          </a:xfrm>
          <a:prstGeom prst="line">
            <a:avLst/>
          </a:prstGeom>
          <a:ln w="12700">
            <a:solidFill>
              <a:srgbClr val="D0244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7346"/>
          <a:stretch/>
        </p:blipFill>
        <p:spPr>
          <a:xfrm>
            <a:off x="406" y="6062479"/>
            <a:ext cx="12191594" cy="822905"/>
          </a:xfrm>
          <a:prstGeom prst="rect">
            <a:avLst/>
          </a:prstGeom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711349"/>
            <a:ext cx="10972800" cy="4525963"/>
          </a:xfr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lnSpc>
                <a:spcPct val="120000"/>
              </a:lnSpc>
              <a:buClr>
                <a:prstClr val="white"/>
              </a:buClr>
              <a:buFont typeface="Wingdings" panose="05000000000000000000" pitchFamily="2" charset="2"/>
              <a:buChar char="§"/>
              <a:defRPr lang="en-GB" sz="2400" kern="1200" dirty="0" smtClean="0">
                <a:solidFill>
                  <a:srgbClr val="E7D2AD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Clr>
                <a:srgbClr val="D02448"/>
              </a:buClr>
              <a:buFont typeface="Wingdings" panose="05000000000000000000" pitchFamily="2" charset="2"/>
              <a:buChar char="§"/>
              <a:defRPr lang="en-GB" sz="2000" kern="1200" dirty="0" smtClean="0">
                <a:solidFill>
                  <a:srgbClr val="E7D2AD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chemeClr val="bg1"/>
              </a:buClr>
              <a:defRPr lang="en-GB" sz="1800" kern="1200" dirty="0" smtClean="0">
                <a:solidFill>
                  <a:srgbClr val="E7D2AD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chemeClr val="bg1"/>
              </a:buClr>
              <a:defRPr sz="1600">
                <a:solidFill>
                  <a:srgbClr val="E6D1AC"/>
                </a:solidFill>
              </a:defRPr>
            </a:lvl4pPr>
            <a:lvl5pPr marL="2057400" indent="-228600"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rgbClr val="E6D1AC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226025"/>
            <a:ext cx="1463245" cy="557615"/>
          </a:xfrm>
          <a:prstGeom prst="rect">
            <a:avLst/>
          </a:prstGeom>
        </p:spPr>
      </p:pic>
      <p:sp>
        <p:nvSpPr>
          <p:cNvPr id="10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568375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C51160-4C23-14F0-522A-E15B57FC3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305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51160-4C23-14F0-522A-E15B57FC3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9706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8299A1-8C39-237E-B0D4-11A98F94F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44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8299A1-8C39-237E-B0D4-11A98F94F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6670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392976D-AAEE-A0F3-EDEC-0494F7418F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293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2976D-AAEE-A0F3-EDEC-0494F7418F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919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0EC43D7-EFE0-2343-FA7A-BBF24C06D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713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EC43D7-EFE0-2343-FA7A-BBF24C06D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CBF60633-324E-44A8-9D97-FA602AA6E7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38458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dark red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25AC969-E52A-19F3-046F-5708D86EB4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881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5AC969-E52A-19F3-046F-5708D86EB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9" name="Logo white">
            <a:extLst>
              <a:ext uri="{FF2B5EF4-FFF2-40B4-BE49-F238E27FC236}">
                <a16:creationId xmlns:a16="http://schemas.microsoft.com/office/drawing/2014/main" id="{5EA349C7-691C-E943-9E5D-D9E3A0DAAD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90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37A4D84-D2EF-A5BE-1BAD-B27904CA8D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535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D84-D2EF-A5BE-1BAD-B27904CA8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64859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DE2D5F-7A51-027E-5D15-3B966C64D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96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DE2D5F-7A51-027E-5D15-3B966C64D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88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88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44135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1BD81CB-E9C4-4E4E-28B9-6E87222A45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745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BD81CB-E9C4-4E4E-28B9-6E87222A4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04C95292-CA88-4F91-85C3-4AD11D5A4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" name="Logo white">
            <a:extLst>
              <a:ext uri="{FF2B5EF4-FFF2-40B4-BE49-F238E27FC236}">
                <a16:creationId xmlns:a16="http://schemas.microsoft.com/office/drawing/2014/main" id="{4371357E-DE8E-8043-AA98-43C7089B5A2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7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84CEBAC-6680-E7F0-79CB-750156DAA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663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CEBAC-6680-E7F0-79CB-750156DAA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7977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006F1A3-7267-B05B-A734-03B9435617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510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06F1A3-7267-B05B-A734-03B943561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accent5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59893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pic>
        <p:nvPicPr>
          <p:cNvPr id="7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10" name="Pladsholder til sidefod 7"/>
          <p:cNvSpPr txBox="1">
            <a:spLocks/>
          </p:cNvSpPr>
          <p:nvPr userDrawn="1"/>
        </p:nvSpPr>
        <p:spPr>
          <a:xfrm>
            <a:off x="609600" y="6356351"/>
            <a:ext cx="10972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rgbClr val="E6D1AC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3046B3-056B-44A2-B38B-5E76BBFA3BD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27043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50BF203-DABD-246B-96CB-485DA6FF9A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108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0BF203-DABD-246B-96CB-485DA6FF9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2817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508477"/>
            <a:ext cx="5158798" cy="666305"/>
          </a:xfrm>
        </p:spPr>
        <p:txBody>
          <a:bodyPr vert="horz" anchor="t" anchorCtr="0"/>
          <a:lstStyle>
            <a:lvl1pPr rtl="0"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noProof="0" dirty="0"/>
              <a:t>Click to add title</a:t>
            </a:r>
            <a:endParaRPr lang="da-DK"/>
          </a:p>
        </p:txBody>
      </p:sp>
      <p:sp>
        <p:nvSpPr>
          <p:cNvPr id="12" name="Picture Placeholder 15">
            <a:extLst>
              <a:ext uri="{FF2B5EF4-FFF2-40B4-BE49-F238E27FC236}">
                <a16:creationId xmlns:a16="http://schemas.microsoft.com/office/drawing/2014/main" id="{5B6CA26F-85F2-499A-B74D-DD2F521CB4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3" name="Floating Logo">
            <a:extLst>
              <a:ext uri="{FF2B5EF4-FFF2-40B4-BE49-F238E27FC236}">
                <a16:creationId xmlns:a16="http://schemas.microsoft.com/office/drawing/2014/main" id="{91F06DD3-D9A5-4CE3-BB43-421E4BC11D4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71E1CD4-D769-435E-BD70-1F92A02512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3" y="1646555"/>
            <a:ext cx="5184000" cy="4251008"/>
          </a:xfrm>
        </p:spPr>
        <p:txBody>
          <a:bodyPr/>
          <a:lstStyle>
            <a:lvl1pPr marL="360000" indent="-360000" rtl="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 rtl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da-DK" dirty="0"/>
              <a:t>Click to add topic, use red </a:t>
            </a:r>
            <a:r>
              <a:rPr lang="da-DK" dirty="0" err="1"/>
              <a:t>color</a:t>
            </a:r>
            <a:r>
              <a:rPr lang="da-DK" dirty="0"/>
              <a:t> to highlight text, use Indent level button to add sub-level style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79717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00000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31AEB7-93EC-8526-D413-011BB6B1BD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66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31AEB7-93EC-8526-D413-011BB6B1BD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2817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508477"/>
            <a:ext cx="10728326" cy="666305"/>
          </a:xfrm>
        </p:spPr>
        <p:txBody>
          <a:bodyPr vert="horz" anchor="t" anchorCtr="0"/>
          <a:lstStyle>
            <a:lvl1pPr rtl="0"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noProof="0" dirty="0"/>
              <a:t>Click to add title</a:t>
            </a:r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E7C833-004A-48F3-96C6-37AF970C1C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2" y="1646555"/>
            <a:ext cx="10728327" cy="4251008"/>
          </a:xfrm>
        </p:spPr>
        <p:txBody>
          <a:bodyPr numCol="2" spcCol="360000"/>
          <a:lstStyle>
            <a:lvl1pPr marL="360000" indent="-360000" rtl="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 rtl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da-DK" dirty="0"/>
              <a:t>Click to add topic, use red </a:t>
            </a:r>
            <a:r>
              <a:rPr lang="da-DK" dirty="0" err="1"/>
              <a:t>color</a:t>
            </a:r>
            <a:r>
              <a:rPr lang="da-DK" dirty="0"/>
              <a:t> to highlight text, use Indent level button to add sub-level style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" name="Logo red">
            <a:extLst>
              <a:ext uri="{FF2B5EF4-FFF2-40B4-BE49-F238E27FC236}">
                <a16:creationId xmlns:a16="http://schemas.microsoft.com/office/drawing/2014/main" id="{3DC4FE27-9A88-4EA3-9CFA-70AE00D06FC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308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00000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94FA303-1671-DCA5-968E-4B3BA991E0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066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4FA303-1671-DCA5-968E-4B3BA991E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ackground white">
            <a:extLst>
              <a:ext uri="{FF2B5EF4-FFF2-40B4-BE49-F238E27FC236}">
                <a16:creationId xmlns:a16="http://schemas.microsoft.com/office/drawing/2014/main" id="{42F67D6C-E9B5-402D-9EE1-DD1BADE1C5C6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66212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08E4D55-DED0-5F2C-C523-3E89CEA262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754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8E4D55-DED0-5F2C-C523-3E89CEA26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38292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7116DEB-4E96-66D2-5FEA-491C7155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65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116DEB-4E96-66D2-5FEA-491C7155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030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6D5271D-2DBF-8715-3C46-2EA7CC63E0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8754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D5271D-2DBF-8715-3C46-2EA7CC63E0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68157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DB88EB-1396-191D-1F41-76B1695C4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89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DB88EB-1396-191D-1F41-76B1695C4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1428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723C1A9-FD05-9D0C-3278-1BEB979F39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192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23C1A9-FD05-9D0C-3278-1BEB979F39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71217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0830A2E-323E-D931-25C4-D1B7E674F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830A2E-323E-D931-25C4-D1B7E674F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ackground">
            <a:extLst>
              <a:ext uri="{FF2B5EF4-FFF2-40B4-BE49-F238E27FC236}">
                <a16:creationId xmlns:a16="http://schemas.microsoft.com/office/drawing/2014/main" id="{FF23027A-D5A2-44D6-8AA8-11EEB9138562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372F34-070F-477A-9837-DDF7DA4A17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8" y="0"/>
            <a:ext cx="11487690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Click to add text, </a:t>
            </a:r>
            <a:r>
              <a:rPr lang="da-DK" noProof="0" dirty="0"/>
              <a:t>use Indent level button to add sub-level style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85980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E35D1B7-79A8-0DC7-EDE0-710D80E987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568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35D1B7-79A8-0DC7-EDE0-710D80E987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278143A-C928-452D-8854-FD50B1D74B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514" y="-13159"/>
            <a:ext cx="11627077" cy="62951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Click to add text, </a:t>
            </a:r>
            <a:r>
              <a:rPr lang="da-DK" noProof="0" dirty="0"/>
              <a:t>use Indent level button to add sub-level style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66305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pic>
        <p:nvPicPr>
          <p:cNvPr id="7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10" name="Pladsholder til sidefod 7"/>
          <p:cNvSpPr txBox="1">
            <a:spLocks/>
          </p:cNvSpPr>
          <p:nvPr userDrawn="1"/>
        </p:nvSpPr>
        <p:spPr>
          <a:xfrm>
            <a:off x="609600" y="6356351"/>
            <a:ext cx="10972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rgbClr val="E6D1AC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3046B3-056B-44A2-B38B-5E76BBFA3BD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29313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56069D5-6C3F-71EC-5C87-B1F67F653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71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6069D5-6C3F-71EC-5C87-B1F67F653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926335D-C5A6-4E4F-AFDE-88688F759A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7" y="0"/>
            <a:ext cx="11521875" cy="6244735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Text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9637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7DB34AC-4BB8-8914-371D-703C0AB78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98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DB34AC-4BB8-8914-371D-703C0AB780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A8488AF6-DF8B-49C5-A110-5D378AC90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8" y="0"/>
            <a:ext cx="11499722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Text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1457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5B1AB66-FDE0-0830-9A18-92EB4F309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142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B1AB66-FDE0-0830-9A18-92EB4F309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2A563AF-A1C8-48CE-A410-D666B6D1C3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0" name="text" descr="{&quot;templafy&quot;:{&quot;id&quot;:&quot;2e049d0a-0562-4953-8e9e-97db8947ec37&quot;}}" title="text">
            <a:extLst>
              <a:ext uri="{FF2B5EF4-FFF2-40B4-BE49-F238E27FC236}">
                <a16:creationId xmlns:a16="http://schemas.microsoft.com/office/drawing/2014/main" id="{83A88521-760D-43A1-9852-2F3991819E38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 rtl="0"/>
            <a:r>
              <a:rPr lang="da-DK" sz="1000" noProof="0" dirty="0"/>
              <a:t>Falck.com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476883"/>
            <a:ext cx="11037889" cy="1047777"/>
          </a:xfrm>
        </p:spPr>
        <p:txBody>
          <a:bodyPr vert="horz" anchor="b" anchorCtr="0"/>
          <a:lstStyle>
            <a:lvl1pPr algn="l" rtl="0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add tex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69270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7AEA124-DE47-B7F7-35D8-565FCD2238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26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AEA124-DE47-B7F7-35D8-565FCD2238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text">
            <a:extLst>
              <a:ext uri="{FF2B5EF4-FFF2-40B4-BE49-F238E27FC236}">
                <a16:creationId xmlns:a16="http://schemas.microsoft.com/office/drawing/2014/main" id="{86C0A98B-F9BD-4B21-B9C1-2687709CF6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517184"/>
            <a:ext cx="11037889" cy="1007476"/>
          </a:xfrm>
        </p:spPr>
        <p:txBody>
          <a:bodyPr vert="horz" anchor="b" anchorCtr="0"/>
          <a:lstStyle>
            <a:lvl1pPr algn="l" rtl="0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add tex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text" descr="{&quot;templafy&quot;:{&quot;id&quot;:&quot;93463bbf-96eb-45a3-a210-90c78230889a&quot;}}" title="text">
            <a:extLst>
              <a:ext uri="{FF2B5EF4-FFF2-40B4-BE49-F238E27FC236}">
                <a16:creationId xmlns:a16="http://schemas.microsoft.com/office/drawing/2014/main" id="{30EEE3F4-AE25-4B87-AD35-F372D7B04255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 rtl="0"/>
            <a:r>
              <a:rPr lang="da-DK" sz="1000" noProof="0" dirty="0"/>
              <a:t>Falck.com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4008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DC66A06-7693-8F7C-2D16-2B6E4679FE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77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C66A06-7693-8F7C-2D16-2B6E4679FE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C1EE6D30-DAE4-43B3-A64F-3F8C0D304EC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45EE98-2F11-4C72-A6C3-211D8F63C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7999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10728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25E852A-DBD2-478B-BD84-6E9A93D538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2CCCC37-F80F-4624-B1A3-A6239A798F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C29B692-1416-40D2-932B-BB1E3ADB50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4CE41F0-384B-4BAC-86F6-8DF6605241E1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5861821"/>
      </p:ext>
    </p:extLst>
  </p:cSld>
  <p:clrMapOvr>
    <a:masterClrMapping/>
  </p:clrMapOvr>
  <p:hf hdr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5F50C14-C262-71D1-6EF3-0098C52594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917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F50C14-C262-71D1-6EF3-0098C525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A3EC5-DDB9-42AD-9603-3E4C0CF8F05B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0113055"/>
      </p:ext>
    </p:extLst>
  </p:cSld>
  <p:clrMapOvr>
    <a:masterClrMapping/>
  </p:clrMapOvr>
  <p:hf hdr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16BBA78-1D04-A8F6-8F7D-E38F41F707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510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6BBA78-1D04-A8F6-8F7D-E38F41F70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3169446"/>
      </p:ext>
    </p:extLst>
  </p:cSld>
  <p:clrMapOvr>
    <a:masterClrMapping/>
  </p:clrMapOvr>
  <p:hf hdr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, column line,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EC252C-AB60-9CBF-A073-15709F035A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93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0EC252C-AB60-9CBF-A073-15709F035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2359662"/>
            <a:ext cx="5184000" cy="3537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3" name="Text Placeholder 41">
            <a:extLst>
              <a:ext uri="{FF2B5EF4-FFF2-40B4-BE49-F238E27FC236}">
                <a16:creationId xmlns:a16="http://schemas.microsoft.com/office/drawing/2014/main" id="{8A4EE466-37DF-4A52-9FF6-B5BE436D8A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18675" y="1916113"/>
            <a:ext cx="5184325" cy="314340"/>
          </a:xfrm>
        </p:spPr>
        <p:txBody>
          <a:bodyPr/>
          <a:lstStyle>
            <a:lvl1pPr marL="0" indent="0" rtl="0">
              <a:buFontTx/>
              <a:buNone/>
              <a:defRPr sz="2000" b="1"/>
            </a:lvl1pPr>
            <a:lvl2pPr marL="0" indent="0">
              <a:buFontTx/>
              <a:buNone/>
              <a:defRPr sz="2000" b="1"/>
            </a:lvl2pPr>
            <a:lvl3pPr marL="0" indent="0">
              <a:buFontTx/>
              <a:buNone/>
              <a:defRPr sz="2000" b="1"/>
            </a:lvl3pPr>
            <a:lvl4pPr marL="0" indent="0">
              <a:buFontTx/>
              <a:buNone/>
              <a:defRPr sz="2000" b="1"/>
            </a:lvl4pPr>
            <a:lvl5pPr marL="0" indent="0">
              <a:buFontTx/>
              <a:buNone/>
              <a:defRPr sz="2000" b="1"/>
            </a:lvl5pPr>
          </a:lstStyle>
          <a:p>
            <a:pPr lvl="0"/>
            <a:r>
              <a:rPr lang="da-DK"/>
              <a:t>Click to add chart 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6898052"/>
      </p:ext>
    </p:extLst>
  </p:cSld>
  <p:clrMapOvr>
    <a:masterClrMapping/>
  </p:clrMapOvr>
  <p:hf hdr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+ 2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4B22252-1C74-2681-19F3-4DC702D09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061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B22252-1C74-2681-19F3-4DC702D09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000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73200" y="1916113"/>
            <a:ext cx="70308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910C70-B023-4A8C-9926-330390E1D279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7548388"/>
      </p:ext>
    </p:extLst>
  </p:cSld>
  <p:clrMapOvr>
    <a:masterClrMapping/>
  </p:clrMapOvr>
  <p:hf hdr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+ 1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5637755-3BD1-910A-051F-4F4B3299F6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8641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637755-3BD1-910A-051F-4F4B3299F6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65799" y="1916113"/>
            <a:ext cx="33372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4675" y="1916113"/>
            <a:ext cx="70308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270460A-F26E-4CEE-9E4F-84CF192002D8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3606387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pic>
        <p:nvPicPr>
          <p:cNvPr id="7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10" name="Pladsholder til sidefod 7"/>
          <p:cNvSpPr txBox="1">
            <a:spLocks/>
          </p:cNvSpPr>
          <p:nvPr userDrawn="1"/>
        </p:nvSpPr>
        <p:spPr>
          <a:xfrm>
            <a:off x="609600" y="6356351"/>
            <a:ext cx="10972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rgbClr val="E6D1AC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3046B3-056B-44A2-B38B-5E76BBFA3BD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82899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85DA375-A735-234A-6DF3-A8A3FEE11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7396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5DA375-A735-234A-6DF3-A8A3FEE11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0074" y="1702235"/>
            <a:ext cx="3337200" cy="35999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70074" y="2177294"/>
            <a:ext cx="3337200" cy="3723351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5475" y="1702235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965475" y="2177295"/>
            <a:ext cx="33372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DBE936-48E4-4946-BA55-7CCA6953C5C2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02E2EA-3B2C-481D-AB29-010E6BABB039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638847"/>
      </p:ext>
    </p:extLst>
  </p:cSld>
  <p:clrMapOvr>
    <a:masterClrMapping/>
  </p:clrMapOvr>
  <p:hf hdr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C9FD3A6-AB05-B305-EFE7-EA52AC1791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082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9FD3A6-AB05-B305-EFE7-EA52AC179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24120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6674" y="1702235"/>
            <a:ext cx="2412000" cy="35999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346674" y="2177294"/>
            <a:ext cx="2412000" cy="3723351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2412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90675" y="1702235"/>
            <a:ext cx="2412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90675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BCFC9D7-2B4D-418F-A009-782B8B18318B}"/>
              </a:ext>
            </a:extLst>
          </p:cNvPr>
          <p:cNvCxnSpPr>
            <a:cxnSpLocks/>
          </p:cNvCxnSpPr>
          <p:nvPr userDrawn="1"/>
        </p:nvCxnSpPr>
        <p:spPr>
          <a:xfrm>
            <a:off x="3166670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5C54820-B41B-489C-B6C4-859D35934E6B}"/>
              </a:ext>
            </a:extLst>
          </p:cNvPr>
          <p:cNvCxnSpPr>
            <a:cxnSpLocks/>
          </p:cNvCxnSpPr>
          <p:nvPr userDrawn="1"/>
        </p:nvCxnSpPr>
        <p:spPr>
          <a:xfrm>
            <a:off x="8710678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4011058"/>
      </p:ext>
    </p:extLst>
  </p:cSld>
  <p:clrMapOvr>
    <a:masterClrMapping/>
  </p:clrMapOvr>
  <p:hf hdr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2FBC295-1875-D0BC-C837-6C15E1F22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6475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FBC295-1875-D0BC-C837-6C15E1F22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51840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5184000" cy="1531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18675" y="3896404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118675" y="4372576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6154675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6805402"/>
      </p:ext>
    </p:extLst>
  </p:cSld>
  <p:clrMapOvr>
    <a:masterClrMapping/>
  </p:clrMapOvr>
  <p:hf hdr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8F8986F-78FB-D110-AE4F-4FFEC415F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222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F8986F-78FB-D110-AE4F-4FFEC415F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two lines, if two lines, delete subtitl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57AE8D-72C5-4931-A8B0-B7917C380EB7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3337200" cy="1531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074" y="1702232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70074" y="217778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074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270074" y="4372576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4BF3B2AF-25AE-4998-9DBE-39A7E60534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65475" y="1702232"/>
            <a:ext cx="3337200" cy="360000"/>
          </a:xfrm>
        </p:spPr>
        <p:txBody>
          <a:bodyPr/>
          <a:lstStyle>
            <a:lvl1pPr marL="0" indent="0" rtl="0">
              <a:buNone/>
              <a:defRPr b="1"/>
            </a:lvl1pPr>
            <a:lvl2pPr marL="0" indent="0">
              <a:buNone/>
              <a:defRPr b="1"/>
            </a:lvl2pPr>
            <a:lvl3pPr marL="0" indent="0">
              <a:buNone/>
              <a:defRPr b="1"/>
            </a:lvl3pPr>
            <a:lvl4pPr marL="0" indent="0">
              <a:buNone/>
              <a:defRPr b="1"/>
            </a:lvl4pPr>
            <a:lvl5pPr marL="0" indent="0">
              <a:buNone/>
              <a:defRPr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31A70DCD-C870-4287-81E6-19BC8C8C5A5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7965475" y="217713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81706D-79BA-4127-9D29-493107D7D9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65475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-DK" dirty="0"/>
              <a:t>Click to add text, one line</a:t>
            </a:r>
            <a:endParaRPr lang="da-DK"/>
          </a:p>
        </p:txBody>
      </p:sp>
      <p:sp>
        <p:nvSpPr>
          <p:cNvPr id="36" name="Content Placeholder 35">
            <a:extLst>
              <a:ext uri="{FF2B5EF4-FFF2-40B4-BE49-F238E27FC236}">
                <a16:creationId xmlns:a16="http://schemas.microsoft.com/office/drawing/2014/main" id="{815F6B20-D147-4A52-8D1A-42E532DEFD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965475" y="4372576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42700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613CA1F-1480-49ED-8933-67631F44A4EF}"/>
              </a:ext>
            </a:extLst>
          </p:cNvPr>
          <p:cNvCxnSpPr>
            <a:cxnSpLocks/>
          </p:cNvCxnSpPr>
          <p:nvPr userDrawn="1"/>
        </p:nvCxnSpPr>
        <p:spPr>
          <a:xfrm>
            <a:off x="7965475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3061019"/>
      </p:ext>
    </p:extLst>
  </p:cSld>
  <p:clrMapOvr>
    <a:masterClrMapping/>
  </p:clrMapOvr>
  <p:hf hdr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40CBC96-8412-44B8-335A-869AA50574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671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0CBC96-8412-44B8-335A-869AA50574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20000" y="0"/>
            <a:ext cx="54925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7" y="240213"/>
            <a:ext cx="5184000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5184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 in max 2 lines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4674" y="6005475"/>
            <a:ext cx="5183999" cy="176400"/>
          </a:xfrm>
        </p:spPr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3" y="1207052"/>
            <a:ext cx="5184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042536"/>
      </p:ext>
    </p:extLst>
  </p:cSld>
  <p:clrMapOvr>
    <a:masterClrMapping/>
  </p:clrMapOvr>
  <p:hf hdr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550A930-AF8E-DC7F-AB25-6B21A22F5C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413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0A930-AF8E-DC7F-AB25-6B21A22F5C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3337200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683763"/>
            <a:ext cx="33372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 dirty="0"/>
              <a:t>Click to add tit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 dirty="0"/>
              <a:t>Click to 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69600" y="0"/>
            <a:ext cx="73429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4674" y="6005475"/>
            <a:ext cx="3337200" cy="176400"/>
          </a:xfrm>
        </p:spPr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8639680"/>
      </p:ext>
    </p:extLst>
  </p:cSld>
  <p:clrMapOvr>
    <a:masterClrMapping/>
  </p:clrMapOvr>
  <p:hf hdr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553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54107178"/>
      </p:ext>
    </p:extLst>
  </p:cSld>
  <p:clrMapOvr>
    <a:masterClrMapping/>
  </p:clrMapOvr>
  <p:hf hdr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316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F01F18-084D-0037-62E9-8A92594CE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219734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88133236"/>
      </p:ext>
    </p:extLst>
  </p:cSld>
  <p:clrMapOvr>
    <a:masterClrMapping/>
  </p:clrMapOvr>
  <p:hf hdr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3F623C3-C5B5-F4BE-96B5-7E8D9EC5F0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240" y="535710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</a:t>
            </a:r>
            <a:r>
              <a:rPr lang="da-DK" dirty="0" err="1"/>
              <a:t>Templafy</a:t>
            </a:r>
            <a:r>
              <a:rPr lang="da-DK" dirty="0"/>
              <a:t> Images</a:t>
            </a:r>
            <a:endParaRPr lang="da-DK"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50F96ECF-6DAD-800C-BCD8-FBBA742832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643585" y="535710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</a:t>
            </a:r>
            <a:r>
              <a:rPr lang="da-DK" dirty="0" err="1"/>
              <a:t>Templafy</a:t>
            </a:r>
            <a:r>
              <a:rPr lang="da-DK" dirty="0"/>
              <a:t> Images</a:t>
            </a:r>
            <a:endParaRPr lang="da-DK"/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ED03D981-7F98-57E0-F999-D71B873F1B2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69930" y="535710"/>
            <a:ext cx="2835563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53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F1F9589C-100E-12E6-34B5-5228277CB99E}"/>
              </a:ext>
            </a:extLst>
          </p:cNvPr>
          <p:cNvSpPr txBox="1">
            <a:spLocks/>
          </p:cNvSpPr>
          <p:nvPr userDrawn="1"/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AEAF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Pladsholder til slidenummer 6">
            <a:extLst>
              <a:ext uri="{FF2B5EF4-FFF2-40B4-BE49-F238E27FC236}">
                <a16:creationId xmlns:a16="http://schemas.microsoft.com/office/drawing/2014/main" id="{EAF0ACDC-9961-F377-913B-329491A8BDD1}"/>
              </a:ext>
            </a:extLst>
          </p:cNvPr>
          <p:cNvSpPr txBox="1">
            <a:spLocks/>
          </p:cNvSpPr>
          <p:nvPr userDrawn="1"/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AEAF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3" name="Picture Placeholder 15">
            <a:extLst>
              <a:ext uri="{FF2B5EF4-FFF2-40B4-BE49-F238E27FC236}">
                <a16:creationId xmlns:a16="http://schemas.microsoft.com/office/drawing/2014/main" id="{0265AFEB-9F29-2C12-2B66-F6A395F5D11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17240" y="2473037"/>
            <a:ext cx="4073235" cy="3800765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</a:t>
            </a:r>
            <a:r>
              <a:rPr lang="da-DK" dirty="0" err="1"/>
              <a:t>Templafy</a:t>
            </a:r>
            <a:r>
              <a:rPr lang="da-DK" dirty="0"/>
              <a:t> Images</a:t>
            </a:r>
            <a:endParaRPr lang="da-DK"/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3144865D-4B38-00B5-3CDF-15BD0289CCE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641275" y="4410363"/>
            <a:ext cx="6964218" cy="1870364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2B49A7F9-AB5D-F6A0-140B-DC56F15DA64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638967" y="2473037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  <p:sp>
        <p:nvSpPr>
          <p:cNvPr id="5" name="Picture Placeholder 15">
            <a:extLst>
              <a:ext uri="{FF2B5EF4-FFF2-40B4-BE49-F238E27FC236}">
                <a16:creationId xmlns:a16="http://schemas.microsoft.com/office/drawing/2014/main" id="{0C3C74C0-FF5B-3772-2F34-303E8197709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769930" y="2473037"/>
            <a:ext cx="2835563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/>
              <a:t>Click here to insert image via Templafy Image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16293747"/>
      </p:ext>
    </p:extLst>
  </p:cSld>
  <p:clrMapOvr>
    <a:masterClrMapping/>
  </p:clrMapOvr>
  <p:hf hdr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AAF6E80-2AE8-509F-782D-1B0F8EEF1F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034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AF6E80-2AE8-509F-782D-1B0F8EEF1F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id="{84705215-85BF-4037-8F1F-60423D1500F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Click to add subtitle in one line. Can be used if title is one line as well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dirty="0"/>
              <a:t>Click to add title in max two lines, if two lines, delete subtitle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F4E4B8A-738A-49D8-82C2-F98D597CC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804832D-E38B-4FF8-910F-63F742D91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13C99DE-E8E7-470D-B715-106F7920B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F4E1CA-F7A5-46BD-8840-7FDE4E1671E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61172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12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1608444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CFC550F-0103-DA63-F8B7-B2F5746B6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951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FC550F-0103-DA63-F8B7-B2F5746B6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43040" y="1215574"/>
            <a:ext cx="2786833" cy="4216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br>
              <a:rPr lang="en-GB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corporate picture from Templafy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 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Templafy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e on the right side of the scre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click on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con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.</a:t>
            </a:r>
            <a:endParaRPr lang="da-DK"/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10404055" y="1483655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2302" y="1215574"/>
            <a:ext cx="228036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Text styles</a:t>
            </a:r>
            <a:endParaRPr lang="da-DK" alt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bullet button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bullet button to reaply the correct bullet agai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Slides and layouts</a:t>
            </a: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menu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to insert a new slide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layout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lick on the arrow next to </a:t>
            </a:r>
            <a: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 view a dropdown menu of possible slide layouts.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.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49121" y="2924778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49662" y="2201595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3901" t="45142" r="62601" b="9046"/>
          <a:stretch/>
        </p:blipFill>
        <p:spPr>
          <a:xfrm>
            <a:off x="10404055" y="2726384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855543" y="3915330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855543" y="5243483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460076" y="3536124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85407" y="1215574"/>
            <a:ext cx="2358243" cy="4755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Header and footer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 to apply the changes on all slides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(write the desired text)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only used on one slide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Gridlines</a:t>
            </a:r>
            <a:endParaRPr 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and set tick mark next to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 of guides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Slides and slide elements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dropdown menu or from the buttons in the Templafy pane on the right side of the screen. 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also where you’ll Find the new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ck icons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For guidance on how to use our new icons, go to our brand guidelines in the Falck Brand Portal.</a:t>
            </a:r>
            <a:endParaRPr lang="da-DK"/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74675" y="312083"/>
            <a:ext cx="110743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rtl="0"/>
            <a:r>
              <a:rPr lang="da-DK" sz="28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and tricks – your user guide</a:t>
            </a:r>
            <a:endParaRPr lang="da-DK"/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752" y="424340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855542" y="4678942"/>
            <a:ext cx="475428" cy="176762"/>
          </a:xfrm>
          <a:prstGeom prst="rect">
            <a:avLst/>
          </a:prstGeom>
        </p:spPr>
      </p:pic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D355E5A9-A789-447E-83E7-9F167F2E41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E598E2B2-BC68-46C6-BFC0-A749474A5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3ECE9A96-886A-4574-8BCF-07A9134A5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0465358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CA2E21-8E36-C137-3BC2-B1713FB916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287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CA2E21-8E36-C137-3BC2-B1713FB91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 dirty="0">
                <a:solidFill>
                  <a:schemeClr val="bg1"/>
                </a:solidFill>
              </a:rPr>
              <a:t>If you see any </a:t>
            </a:r>
            <a:r>
              <a:rPr lang="da-DK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da-DK" sz="4400" b="0" i="0" noProof="0" dirty="0">
                <a:solidFill>
                  <a:schemeClr val="bg1"/>
                </a:solidFill>
              </a:rPr>
              <a:t>one</a:t>
            </a:r>
            <a:r>
              <a:rPr lang="da-DK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da-DK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da-DK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da-DK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da-DK" sz="13800" b="1" i="1" noProof="0" dirty="0">
                <a:solidFill>
                  <a:schemeClr val="bg1"/>
                </a:solidFill>
              </a:rPr>
              <a:t>Do not use </a:t>
            </a:r>
            <a:endParaRPr lang="da-DK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  <a:endParaRPr lang="da-DK"/>
          </a:p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8549036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4000" b="1">
                <a:effectLst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pic>
        <p:nvPicPr>
          <p:cNvPr id="7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7346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pic>
        <p:nvPicPr>
          <p:cNvPr id="17" name="Billed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8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9" name="Lige forbindelse 8">
            <a:extLst>
              <a:ext uri="{FF2B5EF4-FFF2-40B4-BE49-F238E27FC236}">
                <a16:creationId xmlns:a16="http://schemas.microsoft.com/office/drawing/2014/main" id="{CC545FD3-E788-43F3-A920-D4E15FF2FE58}"/>
              </a:ext>
            </a:extLst>
          </p:cNvPr>
          <p:cNvCxnSpPr>
            <a:cxnSpLocks/>
          </p:cNvCxnSpPr>
          <p:nvPr userDrawn="1"/>
        </p:nvCxnSpPr>
        <p:spPr>
          <a:xfrm>
            <a:off x="681608" y="1268760"/>
            <a:ext cx="720000" cy="0"/>
          </a:xfrm>
          <a:prstGeom prst="line">
            <a:avLst/>
          </a:prstGeom>
          <a:ln>
            <a:solidFill>
              <a:srgbClr val="D0244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05327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slidenummer 4"/>
          <p:cNvSpPr>
            <a:spLocks noGrp="1"/>
          </p:cNvSpPr>
          <p:nvPr>
            <p:ph type="sldNum" sz="quarter" idx="10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564465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17391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184899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4000" b="1">
                <a:effectLst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pic>
        <p:nvPicPr>
          <p:cNvPr id="7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7346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pic>
        <p:nvPicPr>
          <p:cNvPr id="17" name="Billed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8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9" name="Lige forbindelse 8">
            <a:extLst>
              <a:ext uri="{FF2B5EF4-FFF2-40B4-BE49-F238E27FC236}">
                <a16:creationId xmlns:a16="http://schemas.microsoft.com/office/drawing/2014/main" id="{CC545FD3-E788-43F3-A920-D4E15FF2FE58}"/>
              </a:ext>
            </a:extLst>
          </p:cNvPr>
          <p:cNvCxnSpPr>
            <a:cxnSpLocks/>
          </p:cNvCxnSpPr>
          <p:nvPr userDrawn="1"/>
        </p:nvCxnSpPr>
        <p:spPr>
          <a:xfrm>
            <a:off x="681608" y="1268760"/>
            <a:ext cx="720000" cy="0"/>
          </a:xfrm>
          <a:prstGeom prst="line">
            <a:avLst/>
          </a:prstGeom>
          <a:ln>
            <a:solidFill>
              <a:srgbClr val="D0244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7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280774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7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273714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597222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990325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C51160-4C23-14F0-522A-E15B57FC3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305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51160-4C23-14F0-522A-E15B57FC3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redigere mastertiteltypografi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21651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8299A1-8C39-237E-B0D4-11A98F94F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44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8299A1-8C39-237E-B0D4-11A98F94F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redigere mastertiteltypografi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6199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392976D-AAEE-A0F3-EDEC-0494F7418F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293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2976D-AAEE-A0F3-EDEC-0494F7418F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redigere mastertiteltypografi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93025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0EC43D7-EFE0-2343-FA7A-BBF24C06D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713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EC43D7-EFE0-2343-FA7A-BBF24C06D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CBF60633-324E-44A8-9D97-FA602AA6E7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redigere mastertiteltypografi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81781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dark red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25AC969-E52A-19F3-046F-5708D86EB4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881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5AC969-E52A-19F3-046F-5708D86EB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redigere mastertiteltypografi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9" name="Logo white">
            <a:extLst>
              <a:ext uri="{FF2B5EF4-FFF2-40B4-BE49-F238E27FC236}">
                <a16:creationId xmlns:a16="http://schemas.microsoft.com/office/drawing/2014/main" id="{5EA349C7-691C-E943-9E5D-D9E3A0DAAD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054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37A4D84-D2EF-A5BE-1BAD-B27904CA8D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535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D84-D2EF-A5BE-1BAD-B27904CA8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redigere mastertiteltypografi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84527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pic>
        <p:nvPicPr>
          <p:cNvPr id="7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626"/>
          <a:stretch/>
        </p:blipFill>
        <p:spPr>
          <a:xfrm>
            <a:off x="-13807" y="6035096"/>
            <a:ext cx="12205807" cy="822905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pic>
        <p:nvPicPr>
          <p:cNvPr id="8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465"/>
          <a:stretch/>
        </p:blipFill>
        <p:spPr>
          <a:xfrm>
            <a:off x="406" y="6035096"/>
            <a:ext cx="9840010" cy="822905"/>
          </a:xfrm>
          <a:prstGeom prst="rect">
            <a:avLst/>
          </a:prstGeom>
        </p:spPr>
      </p:pic>
      <p:sp>
        <p:nvSpPr>
          <p:cNvPr id="14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DE2D5F-7A51-027E-5D15-3B966C64D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96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DE2D5F-7A51-027E-5D15-3B966C64D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88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redigere mastertiteltypografi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88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1953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1BD81CB-E9C4-4E4E-28B9-6E87222A45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745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BD81CB-E9C4-4E4E-28B9-6E87222A4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Et nærbillede af et logo&#10;&#10;Beskrivelse genereres automatisk">
            <a:extLst>
              <a:ext uri="{FF2B5EF4-FFF2-40B4-BE49-F238E27FC236}">
                <a16:creationId xmlns:a16="http://schemas.microsoft.com/office/drawing/2014/main" id="{04C95292-CA88-4F91-85C3-4AD11D5A4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redigere mastertiteltypografi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" name="Logo white">
            <a:extLst>
              <a:ext uri="{FF2B5EF4-FFF2-40B4-BE49-F238E27FC236}">
                <a16:creationId xmlns:a16="http://schemas.microsoft.com/office/drawing/2014/main" id="{4371357E-DE8E-8043-AA98-43C7089B5A2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636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84CEBAC-6680-E7F0-79CB-750156DAA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663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CEBAC-6680-E7F0-79CB-750156DAA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redigere mastertiteltypografi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73283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006F1A3-7267-B05B-A734-03B9435617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510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06F1A3-7267-B05B-A734-03B943561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redigere mastertiteltypografi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accent5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1578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50BF203-DABD-246B-96CB-485DA6FF9A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108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0BF203-DABD-246B-96CB-485DA6FF9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2817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508477"/>
            <a:ext cx="5158798" cy="666305"/>
          </a:xfrm>
        </p:spPr>
        <p:txBody>
          <a:bodyPr vert="horz" anchor="t" anchorCtr="0"/>
          <a:lstStyle>
            <a:lvl1pPr rtl="0"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noProof="0" dirty="0"/>
              <a:t>Klik for at tilføje titel</a:t>
            </a:r>
            <a:endParaRPr lang="da-DK"/>
          </a:p>
        </p:txBody>
      </p:sp>
      <p:sp>
        <p:nvSpPr>
          <p:cNvPr id="12" name="Picture Placeholder 15">
            <a:extLst>
              <a:ext uri="{FF2B5EF4-FFF2-40B4-BE49-F238E27FC236}">
                <a16:creationId xmlns:a16="http://schemas.microsoft.com/office/drawing/2014/main" id="{5B6CA26F-85F2-499A-B74D-DD2F521CB4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13" name="Floating Logo">
            <a:extLst>
              <a:ext uri="{FF2B5EF4-FFF2-40B4-BE49-F238E27FC236}">
                <a16:creationId xmlns:a16="http://schemas.microsoft.com/office/drawing/2014/main" id="{91F06DD3-D9A5-4CE3-BB43-421E4BC11D4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" dirty="0"/>
              <a:t>.</a:t>
            </a:r>
            <a:endParaRPr lang="da-DK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71E1CD4-D769-435E-BD70-1F92A02512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3" y="1646555"/>
            <a:ext cx="5184000" cy="4251008"/>
          </a:xfrm>
        </p:spPr>
        <p:txBody>
          <a:bodyPr/>
          <a:lstStyle>
            <a:lvl1pPr marL="360000" indent="-360000" rtl="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 rtl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da" dirty="0"/>
              <a:t>Klik for at tilføje emne, brug rød farve til at fremhæve tekst, brug knappen Indryk niveau til at tilføje underniveaustil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22245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000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31AEB7-93EC-8526-D413-011BB6B1BD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66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31AEB7-93EC-8526-D413-011BB6B1BD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2817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508477"/>
            <a:ext cx="10728326" cy="666305"/>
          </a:xfrm>
        </p:spPr>
        <p:txBody>
          <a:bodyPr vert="horz" anchor="t" anchorCtr="0"/>
          <a:lstStyle>
            <a:lvl1pPr rtl="0"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noProof="0" dirty="0"/>
              <a:t>Klik for at tilføje titel</a:t>
            </a:r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E7C833-004A-48F3-96C6-37AF970C1C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2" y="1646555"/>
            <a:ext cx="10728327" cy="4251008"/>
          </a:xfrm>
        </p:spPr>
        <p:txBody>
          <a:bodyPr numCol="2" spcCol="360000"/>
          <a:lstStyle>
            <a:lvl1pPr marL="360000" indent="-360000" rtl="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 rtl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da" dirty="0"/>
              <a:t>Klik for at tilføje emne, brug rød farve til at fremhæve tekst, brug knappen Indryk niveau til at tilføje underniveaustil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" name="Logo red">
            <a:extLst>
              <a:ext uri="{FF2B5EF4-FFF2-40B4-BE49-F238E27FC236}">
                <a16:creationId xmlns:a16="http://schemas.microsoft.com/office/drawing/2014/main" id="{3DC4FE27-9A88-4EA3-9CFA-70AE00D06FC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854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00000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94FA303-1671-DCA5-968E-4B3BA991E0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066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4FA303-1671-DCA5-968E-4B3BA991E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ackground white">
            <a:extLst>
              <a:ext uri="{FF2B5EF4-FFF2-40B4-BE49-F238E27FC236}">
                <a16:creationId xmlns:a16="http://schemas.microsoft.com/office/drawing/2014/main" id="{42F67D6C-E9B5-402D-9EE1-DD1BADE1C5C6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" dirty="0"/>
              <a:t>Klik for at tilføje tekst, brug knappen Indrykningsniveau til at tilføje typografi på underniveau</a:t>
            </a:r>
            <a:endParaRPr lang="da-DK"/>
          </a:p>
          <a:p>
            <a:pPr lvl="1"/>
            <a:r>
              <a:rPr lang="da" dirty="0"/>
              <a:t>Andet niveau (kilde / teks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" dirty="0"/>
              <a:t>Indsæt ikon fra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9771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08E4D55-DED0-5F2C-C523-3E89CEA262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754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8E4D55-DED0-5F2C-C523-3E89CEA26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" dirty="0"/>
              <a:t>Klik for at tilføje tekst, brug knappen Indrykningsniveau til at tilføje typografi på underniveau</a:t>
            </a:r>
            <a:endParaRPr lang="da-DK"/>
          </a:p>
          <a:p>
            <a:pPr lvl="1"/>
            <a:r>
              <a:rPr lang="da" dirty="0"/>
              <a:t>Andet niveau (kilde / teks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" dirty="0"/>
              <a:t>Indsæt ikon fra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20736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7116DEB-4E96-66D2-5FEA-491C7155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65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116DEB-4E96-66D2-5FEA-491C7155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" dirty="0"/>
              <a:t>Klik for at tilføje tekst, brug knappen Indrykningsniveau til at tilføje typografi på underniveau</a:t>
            </a:r>
            <a:endParaRPr lang="da-DK"/>
          </a:p>
          <a:p>
            <a:pPr lvl="1"/>
            <a:r>
              <a:rPr lang="da" dirty="0"/>
              <a:t>Andet niveau (kilde / teks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da" dirty="0"/>
              <a:t>Indsæt ikon fra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55579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6D5271D-2DBF-8715-3C46-2EA7CC63E0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8754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D5271D-2DBF-8715-3C46-2EA7CC63E0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" dirty="0"/>
              <a:t>Klik for at tilføje tekst, brug knappen Indrykningsniveau til at tilføje typografi på underniveau</a:t>
            </a:r>
            <a:endParaRPr lang="da-DK"/>
          </a:p>
          <a:p>
            <a:pPr lvl="1"/>
            <a:r>
              <a:rPr lang="da" dirty="0"/>
              <a:t>Andet niveau (kilde / teks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" dirty="0"/>
              <a:t>Indsæt ikon fra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2916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742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>
                <a:effectLst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pic>
        <p:nvPicPr>
          <p:cNvPr id="11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465"/>
          <a:stretch/>
        </p:blipFill>
        <p:spPr>
          <a:xfrm>
            <a:off x="406" y="6035096"/>
            <a:ext cx="9840010" cy="822905"/>
          </a:xfrm>
          <a:prstGeom prst="rect">
            <a:avLst/>
          </a:prstGeom>
        </p:spPr>
      </p:pic>
      <p:sp>
        <p:nvSpPr>
          <p:cNvPr id="14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085BE3D1-1633-4EC1-B422-2671D5D38579}"/>
              </a:ext>
            </a:extLst>
          </p:cNvPr>
          <p:cNvCxnSpPr>
            <a:cxnSpLocks/>
          </p:cNvCxnSpPr>
          <p:nvPr userDrawn="1"/>
        </p:nvCxnSpPr>
        <p:spPr>
          <a:xfrm>
            <a:off x="681608" y="1268760"/>
            <a:ext cx="720000" cy="0"/>
          </a:xfrm>
          <a:prstGeom prst="line">
            <a:avLst/>
          </a:prstGeom>
          <a:ln>
            <a:solidFill>
              <a:srgbClr val="D0244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DB88EB-1396-191D-1F41-76B1695C4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89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DB88EB-1396-191D-1F41-76B1695C4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" dirty="0"/>
              <a:t>Klik for at tilføje tekst, brug knappen Indrykningsniveau til at tilføje typografi på underniveau</a:t>
            </a:r>
            <a:endParaRPr lang="da-DK"/>
          </a:p>
          <a:p>
            <a:pPr lvl="1"/>
            <a:r>
              <a:rPr lang="da" dirty="0"/>
              <a:t>Andet niveau (kilde / teks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" dirty="0"/>
              <a:t>Indsæt ikon fra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72303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723C1A9-FD05-9D0C-3278-1BEB979F39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192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23C1A9-FD05-9D0C-3278-1BEB979F39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" dirty="0"/>
              <a:t>Klik for at tilføje tekst, brug knappen Indrykningsniveau til at tilføje typografi på underniveau</a:t>
            </a:r>
            <a:endParaRPr lang="da-DK"/>
          </a:p>
          <a:p>
            <a:pPr lvl="1"/>
            <a:r>
              <a:rPr lang="da" dirty="0"/>
              <a:t>Andet niveau (kilde / teks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da" dirty="0"/>
              <a:t>Indsæt ikon fra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37256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0830A2E-323E-D931-25C4-D1B7E674F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830A2E-323E-D931-25C4-D1B7E674F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ackground">
            <a:extLst>
              <a:ext uri="{FF2B5EF4-FFF2-40B4-BE49-F238E27FC236}">
                <a16:creationId xmlns:a16="http://schemas.microsoft.com/office/drawing/2014/main" id="{FF23027A-D5A2-44D6-8AA8-11EEB9138562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372F34-070F-477A-9837-DDF7DA4A17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8" y="0"/>
            <a:ext cx="11487690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" dirty="0"/>
              <a:t>Klik for at tilføje tekst, brug knappen Indrykningsniveau til at tilføje typografi på underniveau</a:t>
            </a:r>
            <a:endParaRPr lang="da-DK"/>
          </a:p>
          <a:p>
            <a:pPr lvl="1"/>
            <a:r>
              <a:rPr lang="da" noProof="0" dirty="0"/>
              <a:t>Andet niveau (kilde / teks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" dirty="0"/>
              <a:t>Indsæt ikon fra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5368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E35D1B7-79A8-0DC7-EDE0-710D80E987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568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35D1B7-79A8-0DC7-EDE0-710D80E987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7" name="Picture 6" descr="Et nærbillede af et logo&#10;&#10;Beskrivelse genereres automatisk">
            <a:extLst>
              <a:ext uri="{FF2B5EF4-FFF2-40B4-BE49-F238E27FC236}">
                <a16:creationId xmlns:a16="http://schemas.microsoft.com/office/drawing/2014/main" id="{D278143A-C928-452D-8854-FD50B1D74B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514" y="-13159"/>
            <a:ext cx="11627077" cy="62951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" dirty="0"/>
              <a:t>Klik for at tilføje tekst, brug knappen Indrykningsniveau til at tilføje typografi på underniveau</a:t>
            </a:r>
            <a:endParaRPr lang="da-DK"/>
          </a:p>
          <a:p>
            <a:pPr lvl="1"/>
            <a:r>
              <a:rPr lang="da" noProof="0" dirty="0"/>
              <a:t>Andet niveau (kilde / teks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" dirty="0"/>
              <a:t>Indsæt ikon fra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95668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56069D5-6C3F-71EC-5C87-B1F67F653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71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6069D5-6C3F-71EC-5C87-B1F67F653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926335D-C5A6-4E4F-AFDE-88688F759A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7" y="0"/>
            <a:ext cx="11521875" cy="6244735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" noProof="0" dirty="0"/>
              <a:t>Tekst</a:t>
            </a:r>
            <a:endParaRPr lang="da-DK"/>
          </a:p>
          <a:p>
            <a:pPr lvl="1"/>
            <a:r>
              <a:rPr lang="da" noProof="0" dirty="0"/>
              <a:t>Andet niveau (kilde / teks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" dirty="0"/>
              <a:t>Indsæt ikon fra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17386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7DB34AC-4BB8-8914-371D-703C0AB78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98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DB34AC-4BB8-8914-371D-703C0AB780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16" name="Picture 15" descr="Et nærbillede af et logo&#10;&#10;Beskrivelse genereres automatisk">
            <a:extLst>
              <a:ext uri="{FF2B5EF4-FFF2-40B4-BE49-F238E27FC236}">
                <a16:creationId xmlns:a16="http://schemas.microsoft.com/office/drawing/2014/main" id="{A8488AF6-DF8B-49C5-A110-5D378AC90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8" y="0"/>
            <a:ext cx="11499722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" noProof="0" dirty="0"/>
              <a:t>Tekst</a:t>
            </a:r>
            <a:endParaRPr lang="da-DK"/>
          </a:p>
          <a:p>
            <a:pPr lvl="1"/>
            <a:r>
              <a:rPr lang="da" noProof="0" dirty="0"/>
              <a:t>Andet niveau (kilde / teks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" dirty="0"/>
              <a:t>Indsæt ikon fra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0648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5B1AB66-FDE0-0830-9A18-92EB4F309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142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B1AB66-FDE0-0830-9A18-92EB4F309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2A563AF-A1C8-48CE-A410-D666B6D1C3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0" name="text" descr="{&quot;templafy&quot;:{&quot;id&quot;:&quot;2e049d0a-0562-4953-8e9e-97db8947ec37&quot;}}" title="text">
            <a:extLst>
              <a:ext uri="{FF2B5EF4-FFF2-40B4-BE49-F238E27FC236}">
                <a16:creationId xmlns:a16="http://schemas.microsoft.com/office/drawing/2014/main" id="{83A88521-760D-43A1-9852-2F3991819E38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 rtl="0"/>
            <a:r>
              <a:rPr lang="da" sz="1000" noProof="0" dirty="0"/>
              <a:t>Falck.com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476883"/>
            <a:ext cx="11037889" cy="1047777"/>
          </a:xfrm>
        </p:spPr>
        <p:txBody>
          <a:bodyPr vert="horz" anchor="b" anchorCtr="0"/>
          <a:lstStyle>
            <a:lvl1pPr algn="l" rtl="0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tilføje teks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0543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7AEA124-DE47-B7F7-35D8-565FCD2238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26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AEA124-DE47-B7F7-35D8-565FCD2238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text">
            <a:extLst>
              <a:ext uri="{FF2B5EF4-FFF2-40B4-BE49-F238E27FC236}">
                <a16:creationId xmlns:a16="http://schemas.microsoft.com/office/drawing/2014/main" id="{86C0A98B-F9BD-4B21-B9C1-2687709CF6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517184"/>
            <a:ext cx="11037889" cy="1007476"/>
          </a:xfrm>
        </p:spPr>
        <p:txBody>
          <a:bodyPr vert="horz" anchor="b" anchorCtr="0"/>
          <a:lstStyle>
            <a:lvl1pPr algn="l" rtl="0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tilføje teks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" dirty="0"/>
              <a:t>Klik for at redigere Master-undertekstformat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text" descr="{&quot;templafy&quot;:{&quot;id&quot;:&quot;93463bbf-96eb-45a3-a210-90c78230889a&quot;}}" title="text">
            <a:extLst>
              <a:ext uri="{FF2B5EF4-FFF2-40B4-BE49-F238E27FC236}">
                <a16:creationId xmlns:a16="http://schemas.microsoft.com/office/drawing/2014/main" id="{30EEE3F4-AE25-4B87-AD35-F372D7B04255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 rtl="0"/>
            <a:r>
              <a:rPr lang="da" sz="1000" noProof="0" dirty="0"/>
              <a:t>Falck.com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2001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DC66A06-7693-8F7C-2D16-2B6E4679FE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77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C66A06-7693-8F7C-2D16-2B6E4679FE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C1EE6D30-DAE4-43B3-A64F-3F8C0D304EC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45EE98-2F11-4C72-A6C3-211D8F63C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7999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" dirty="0"/>
              <a:t>Klik for at tilføje titel i maks. to linjer, hvis to linjer, slet underteks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10728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" noProof="0" dirty="0"/>
              <a:t>Klik for at redigere masterteksttypografier</a:t>
            </a:r>
            <a:endParaRPr lang="da-DK"/>
          </a:p>
          <a:p>
            <a:pPr lvl="1"/>
            <a:r>
              <a:rPr lang="da" noProof="0" dirty="0"/>
              <a:t>Andet niveau</a:t>
            </a:r>
            <a:endParaRPr lang="da-DK"/>
          </a:p>
          <a:p>
            <a:pPr lvl="2"/>
            <a:r>
              <a:rPr lang="da" noProof="0" dirty="0"/>
              <a:t>Tredje niveau</a:t>
            </a:r>
            <a:endParaRPr lang="da-DK"/>
          </a:p>
          <a:p>
            <a:pPr lvl="3"/>
            <a:r>
              <a:rPr lang="da" noProof="0" dirty="0"/>
              <a:t>Fjerde niveau</a:t>
            </a:r>
            <a:endParaRPr lang="da-DK"/>
          </a:p>
          <a:p>
            <a:pPr lvl="4"/>
            <a:r>
              <a:rPr lang="da" noProof="0" dirty="0"/>
              <a:t>Femte niveau</a:t>
            </a:r>
            <a:endParaRPr lang="da-DK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25E852A-DBD2-478B-BD84-6E9A93D538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2CCCC37-F80F-4624-B1A3-A6239A798F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C29B692-1416-40D2-932B-BB1E3ADB50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4CE41F0-384B-4BAC-86F6-8DF6605241E1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3450727"/>
      </p:ext>
    </p:extLst>
  </p:cSld>
  <p:clrMapOvr>
    <a:masterClrMapping/>
  </p:clrMapOvr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5F50C14-C262-71D1-6EF3-0098C52594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917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F50C14-C262-71D1-6EF3-0098C525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" noProof="0" dirty="0"/>
              <a:t>Klik for at tilføje titel i maks. to linjer, hvis to linjer, slet underteks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" noProof="0" dirty="0"/>
              <a:t>Klik for at redigere masterteksttypografier</a:t>
            </a:r>
            <a:endParaRPr lang="da-DK"/>
          </a:p>
          <a:p>
            <a:pPr lvl="1"/>
            <a:r>
              <a:rPr lang="da" noProof="0" dirty="0"/>
              <a:t>Andet niveau</a:t>
            </a:r>
            <a:endParaRPr lang="da-DK"/>
          </a:p>
          <a:p>
            <a:pPr lvl="2"/>
            <a:r>
              <a:rPr lang="da" noProof="0" dirty="0"/>
              <a:t>Tredje niveau</a:t>
            </a:r>
            <a:endParaRPr lang="da-DK"/>
          </a:p>
          <a:p>
            <a:pPr lvl="3"/>
            <a:r>
              <a:rPr lang="da" noProof="0" dirty="0"/>
              <a:t>Fjerde niveau</a:t>
            </a:r>
            <a:endParaRPr lang="da-DK"/>
          </a:p>
          <a:p>
            <a:pPr lvl="4"/>
            <a:r>
              <a:rPr lang="da" noProof="0" dirty="0"/>
              <a:t>Femte niveau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A3EC5-DDB9-42AD-9603-3E4C0CF8F05B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6823110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742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>
                <a:effectLst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rmAutofit/>
          </a:bodyPr>
          <a:lstStyle>
            <a:lvl1pPr marL="0" indent="0">
              <a:buNone/>
              <a:defRPr sz="2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>
            <a:normAutofit/>
          </a:bodyPr>
          <a:lstStyle>
            <a:lvl1pPr marL="0" indent="0">
              <a:buNone/>
              <a:defRPr sz="2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14" name="Pladsholder til slidenummer 4"/>
          <p:cNvSpPr>
            <a:spLocks noGrp="1"/>
          </p:cNvSpPr>
          <p:nvPr>
            <p:ph type="sldNum" sz="quarter" idx="10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B6B20DBE-6D7B-4D58-8C34-54DBFDF8F15A}"/>
              </a:ext>
            </a:extLst>
          </p:cNvPr>
          <p:cNvCxnSpPr>
            <a:cxnSpLocks/>
          </p:cNvCxnSpPr>
          <p:nvPr userDrawn="1"/>
        </p:nvCxnSpPr>
        <p:spPr>
          <a:xfrm>
            <a:off x="681608" y="1268760"/>
            <a:ext cx="720000" cy="0"/>
          </a:xfrm>
          <a:prstGeom prst="line">
            <a:avLst/>
          </a:prstGeom>
          <a:ln>
            <a:solidFill>
              <a:srgbClr val="D0244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16BBA78-1D04-A8F6-8F7D-E38F41F707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510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6BBA78-1D04-A8F6-8F7D-E38F41F70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" noProof="0" dirty="0"/>
              <a:t>Klik for at tilføje titel i maks. to linjer, hvis to linjer, slet underteks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" noProof="0" dirty="0"/>
              <a:t>Klik for at redigere masterteksttypografier</a:t>
            </a:r>
            <a:endParaRPr lang="da-DK"/>
          </a:p>
          <a:p>
            <a:pPr lvl="1"/>
            <a:r>
              <a:rPr lang="da" noProof="0" dirty="0"/>
              <a:t>Andet niveau</a:t>
            </a:r>
            <a:endParaRPr lang="da-DK"/>
          </a:p>
          <a:p>
            <a:pPr lvl="2"/>
            <a:r>
              <a:rPr lang="da" noProof="0" dirty="0"/>
              <a:t>Tredje niveau</a:t>
            </a:r>
            <a:endParaRPr lang="da-DK"/>
          </a:p>
          <a:p>
            <a:pPr lvl="3"/>
            <a:r>
              <a:rPr lang="da" noProof="0" dirty="0"/>
              <a:t>Fjerde niveau</a:t>
            </a:r>
            <a:endParaRPr lang="da-DK"/>
          </a:p>
          <a:p>
            <a:pPr lvl="4"/>
            <a:r>
              <a:rPr lang="da" noProof="0" dirty="0"/>
              <a:t>Femte niveau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1272995"/>
      </p:ext>
    </p:extLst>
  </p:cSld>
  <p:clrMapOvr>
    <a:masterClrMapping/>
  </p:clrMapOvr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, column line,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EC252C-AB60-9CBF-A073-15709F035A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93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0EC252C-AB60-9CBF-A073-15709F035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/>
              <a:t>Klik for at tilføje undertekst på én linje. Kan også bruges, hvis titlen er én linj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" noProof="0"/>
              <a:t>Klik for at tilføje titel i maks. to linjer, hvis to linjer, slet underteks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" noProof="0" dirty="0"/>
              <a:t>Klik for at redigere </a:t>
            </a:r>
            <a:endParaRPr lang="da-DK"/>
          </a:p>
          <a:p>
            <a:pPr lvl="1"/>
            <a:r>
              <a:rPr lang="da" noProof="0" dirty="0"/>
              <a:t>Andet niveau</a:t>
            </a:r>
            <a:endParaRPr lang="da-DK"/>
          </a:p>
          <a:p>
            <a:pPr lvl="2"/>
            <a:r>
              <a:rPr lang="da" noProof="0" dirty="0"/>
              <a:t>Tredje niveau</a:t>
            </a:r>
            <a:endParaRPr lang="da-DK"/>
          </a:p>
          <a:p>
            <a:pPr lvl="3"/>
            <a:r>
              <a:rPr lang="da" noProof="0" dirty="0"/>
              <a:t>Fjerde niveau</a:t>
            </a:r>
            <a:endParaRPr lang="da-DK"/>
          </a:p>
          <a:p>
            <a:pPr lvl="4"/>
            <a:r>
              <a:rPr lang="da" noProof="0" dirty="0"/>
              <a:t>Femte niveau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2359662"/>
            <a:ext cx="5184000" cy="3537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"/>
              <a:t>Klik for at redigere masterteksttypografier</a:t>
            </a:r>
          </a:p>
          <a:p>
            <a:pPr lvl="1"/>
            <a:r>
              <a:rPr lang="da"/>
              <a:t>Andet niveau</a:t>
            </a:r>
          </a:p>
          <a:p>
            <a:pPr lvl="2"/>
            <a:r>
              <a:rPr lang="da"/>
              <a:t>Tredje niveau</a:t>
            </a:r>
          </a:p>
          <a:p>
            <a:pPr lvl="3"/>
            <a:r>
              <a:rPr lang="da"/>
              <a:t>Fjerde niveau</a:t>
            </a:r>
          </a:p>
          <a:p>
            <a:pPr lvl="4"/>
            <a:r>
              <a:rPr lang="da"/>
              <a:t>Femte niveau</a:t>
            </a:r>
          </a:p>
        </p:txBody>
      </p:sp>
      <p:sp>
        <p:nvSpPr>
          <p:cNvPr id="13" name="Text Placeholder 41">
            <a:extLst>
              <a:ext uri="{FF2B5EF4-FFF2-40B4-BE49-F238E27FC236}">
                <a16:creationId xmlns:a16="http://schemas.microsoft.com/office/drawing/2014/main" id="{8A4EE466-37DF-4A52-9FF6-B5BE436D8A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18675" y="1916113"/>
            <a:ext cx="5184325" cy="314340"/>
          </a:xfrm>
        </p:spPr>
        <p:txBody>
          <a:bodyPr/>
          <a:lstStyle>
            <a:lvl1pPr marL="0" indent="0" rtl="0">
              <a:buFontTx/>
              <a:buNone/>
              <a:defRPr sz="2000" b="1"/>
            </a:lvl1pPr>
            <a:lvl2pPr marL="0" indent="0">
              <a:buFontTx/>
              <a:buNone/>
              <a:defRPr sz="2000" b="1"/>
            </a:lvl2pPr>
            <a:lvl3pPr marL="0" indent="0">
              <a:buFontTx/>
              <a:buNone/>
              <a:defRPr sz="2000" b="1"/>
            </a:lvl3pPr>
            <a:lvl4pPr marL="0" indent="0">
              <a:buFontTx/>
              <a:buNone/>
              <a:defRPr sz="2000" b="1"/>
            </a:lvl4pPr>
            <a:lvl5pPr marL="0" indent="0">
              <a:buFontTx/>
              <a:buNone/>
              <a:defRPr sz="2000" b="1"/>
            </a:lvl5pPr>
          </a:lstStyle>
          <a:p>
            <a:pPr lvl="0"/>
            <a:r>
              <a:rPr lang="da"/>
              <a:t>Klik for at tilføje diagramtit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3392203"/>
      </p:ext>
    </p:extLst>
  </p:cSld>
  <p:clrMapOvr>
    <a:masterClrMapping/>
  </p:clrMapOvr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+ 2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4B22252-1C74-2681-19F3-4DC702D09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061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B22252-1C74-2681-19F3-4DC702D09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000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" noProof="0" dirty="0"/>
              <a:t>Klik for at tilføje titel i maks. to linjer, hvis to linjer, slet underteks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noProof="0" dirty="0"/>
              <a:t>Klik for at redigere masterteksttypografier</a:t>
            </a:r>
            <a:endParaRPr lang="da-DK"/>
          </a:p>
          <a:p>
            <a:pPr lvl="1"/>
            <a:r>
              <a:rPr lang="da" noProof="0" dirty="0"/>
              <a:t>Andet niveau</a:t>
            </a:r>
            <a:endParaRPr lang="da-DK"/>
          </a:p>
          <a:p>
            <a:pPr lvl="2"/>
            <a:r>
              <a:rPr lang="da" noProof="0" dirty="0"/>
              <a:t>Tredje niveau</a:t>
            </a:r>
            <a:endParaRPr lang="da-DK"/>
          </a:p>
          <a:p>
            <a:pPr lvl="3"/>
            <a:r>
              <a:rPr lang="da" noProof="0" dirty="0"/>
              <a:t>Fjerde niveau</a:t>
            </a:r>
            <a:endParaRPr lang="da-DK"/>
          </a:p>
          <a:p>
            <a:pPr lvl="4"/>
            <a:r>
              <a:rPr lang="da" noProof="0" dirty="0"/>
              <a:t>Femte niveau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73200" y="1916113"/>
            <a:ext cx="70308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910C70-B023-4A8C-9926-330390E1D279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584107"/>
      </p:ext>
    </p:extLst>
  </p:cSld>
  <p:clrMapOvr>
    <a:masterClrMapping/>
  </p:clrMapOvr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+ 1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5637755-3BD1-910A-051F-4F4B3299F6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8641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637755-3BD1-910A-051F-4F4B3299F6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" noProof="0" dirty="0"/>
              <a:t>Klik for at tilføje titel i maks. to linjer, hvis to linjer, slet underteks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65799" y="1916113"/>
            <a:ext cx="33372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noProof="0" dirty="0"/>
              <a:t>Klik for at redigere masterteksttypografier</a:t>
            </a:r>
            <a:endParaRPr lang="da-DK"/>
          </a:p>
          <a:p>
            <a:pPr lvl="1"/>
            <a:r>
              <a:rPr lang="da" noProof="0" dirty="0"/>
              <a:t>Andet niveau</a:t>
            </a:r>
            <a:endParaRPr lang="da-DK"/>
          </a:p>
          <a:p>
            <a:pPr lvl="2"/>
            <a:r>
              <a:rPr lang="da" noProof="0" dirty="0"/>
              <a:t>Tredje niveau</a:t>
            </a:r>
            <a:endParaRPr lang="da-DK"/>
          </a:p>
          <a:p>
            <a:pPr lvl="3"/>
            <a:r>
              <a:rPr lang="da" noProof="0" dirty="0"/>
              <a:t>Fjerde niveau</a:t>
            </a:r>
            <a:endParaRPr lang="da-DK"/>
          </a:p>
          <a:p>
            <a:pPr lvl="4"/>
            <a:r>
              <a:rPr lang="da" noProof="0" dirty="0"/>
              <a:t>Femte niveau</a:t>
            </a:r>
            <a:endParaRPr lang="da-DK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4675" y="1916113"/>
            <a:ext cx="7030800" cy="398145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270460A-F26E-4CEE-9E4F-84CF192002D8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2711334"/>
      </p:ext>
    </p:extLst>
  </p:cSld>
  <p:clrMapOvr>
    <a:masterClrMapping/>
  </p:clrMapOvr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85DA375-A735-234A-6DF3-A8A3FEE11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7396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5DA375-A735-234A-6DF3-A8A3FEE11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" noProof="0" dirty="0"/>
              <a:t>Klik for at tilføje titel i maks. to linjer, hvis to linjer, slet undertekst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0074" y="1702235"/>
            <a:ext cx="3337200" cy="35999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70074" y="2177294"/>
            <a:ext cx="3337200" cy="3723351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5475" y="1702235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965475" y="2177295"/>
            <a:ext cx="33372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DBE936-48E4-4946-BA55-7CCA6953C5C2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02E2EA-3B2C-481D-AB29-010E6BABB039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031132"/>
      </p:ext>
    </p:extLst>
  </p:cSld>
  <p:clrMapOvr>
    <a:masterClrMapping/>
  </p:clrMapOvr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C9FD3A6-AB05-B305-EFE7-EA52AC1791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082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9FD3A6-AB05-B305-EFE7-EA52AC179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" noProof="0" dirty="0"/>
              <a:t>Klik for at tilføje titel i maks. to linjer, hvis to linjer, slet undertekst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24120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6674" y="1702235"/>
            <a:ext cx="2412000" cy="35999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346674" y="2177294"/>
            <a:ext cx="2412000" cy="3723351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2412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90675" y="1702235"/>
            <a:ext cx="2412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90675" y="2177295"/>
            <a:ext cx="2412000" cy="3720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BCFC9D7-2B4D-418F-A009-782B8B18318B}"/>
              </a:ext>
            </a:extLst>
          </p:cNvPr>
          <p:cNvCxnSpPr>
            <a:cxnSpLocks/>
          </p:cNvCxnSpPr>
          <p:nvPr userDrawn="1"/>
        </p:nvCxnSpPr>
        <p:spPr>
          <a:xfrm>
            <a:off x="3166670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5C54820-B41B-489C-B6C4-859D35934E6B}"/>
              </a:ext>
            </a:extLst>
          </p:cNvPr>
          <p:cNvCxnSpPr>
            <a:cxnSpLocks/>
          </p:cNvCxnSpPr>
          <p:nvPr userDrawn="1"/>
        </p:nvCxnSpPr>
        <p:spPr>
          <a:xfrm>
            <a:off x="8710678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2934550"/>
      </p:ext>
    </p:extLst>
  </p:cSld>
  <p:clrMapOvr>
    <a:masterClrMapping/>
  </p:clrMapOvr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2FBC295-1875-D0BC-C837-6C15E1F22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6475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FBC295-1875-D0BC-C837-6C15E1F22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" noProof="0" dirty="0"/>
              <a:t>Klik for at tilføje titel i maks. to linjer, hvis to linjer, slet undertekst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51840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5184000" cy="1531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18675" y="3896404"/>
            <a:ext cx="51840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118675" y="4372576"/>
            <a:ext cx="51840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6154675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353116"/>
      </p:ext>
    </p:extLst>
  </p:cSld>
  <p:clrMapOvr>
    <a:masterClrMapping/>
  </p:clrMapOvr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8F8986F-78FB-D110-AE4F-4FFEC415F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222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F8986F-78FB-D110-AE4F-4FFEC415F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" noProof="0" dirty="0"/>
              <a:t>Klik for at tilføje titel i maks. to linjer, hvis to linjer, slet undertekst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57AE8D-72C5-4931-A8B0-B7917C380EB7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3337200" cy="1531268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074" y="1702232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70074" y="217778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074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270074" y="4372576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4BF3B2AF-25AE-4998-9DBE-39A7E60534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65475" y="1702232"/>
            <a:ext cx="3337200" cy="360000"/>
          </a:xfrm>
        </p:spPr>
        <p:txBody>
          <a:bodyPr/>
          <a:lstStyle>
            <a:lvl1pPr marL="0" indent="0" rtl="0">
              <a:buNone/>
              <a:defRPr b="1"/>
            </a:lvl1pPr>
            <a:lvl2pPr marL="0" indent="0">
              <a:buNone/>
              <a:defRPr b="1"/>
            </a:lvl2pPr>
            <a:lvl3pPr marL="0" indent="0">
              <a:buNone/>
              <a:defRPr b="1"/>
            </a:lvl3pPr>
            <a:lvl4pPr marL="0" indent="0">
              <a:buNone/>
              <a:defRPr b="1"/>
            </a:lvl4pPr>
            <a:lvl5pPr marL="0" indent="0">
              <a:buNone/>
              <a:defRPr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31A70DCD-C870-4287-81E6-19BC8C8C5A5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7965475" y="2177135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81706D-79BA-4127-9D29-493107D7D9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65475" y="3896404"/>
            <a:ext cx="3337200" cy="360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a" dirty="0"/>
              <a:t>Klik for at tilføje tekst, en linje</a:t>
            </a:r>
            <a:endParaRPr lang="da-DK"/>
          </a:p>
        </p:txBody>
      </p:sp>
      <p:sp>
        <p:nvSpPr>
          <p:cNvPr id="36" name="Content Placeholder 35">
            <a:extLst>
              <a:ext uri="{FF2B5EF4-FFF2-40B4-BE49-F238E27FC236}">
                <a16:creationId xmlns:a16="http://schemas.microsoft.com/office/drawing/2014/main" id="{815F6B20-D147-4A52-8D1A-42E532DEFD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965475" y="4372576"/>
            <a:ext cx="3337200" cy="1530000"/>
          </a:xfrm>
        </p:spPr>
        <p:txBody>
          <a:bodyPr/>
          <a:lstStyle>
            <a:lvl1pPr rtl="0">
              <a:defRPr sz="1400"/>
            </a:lvl1pPr>
            <a:lvl2pPr rtl="0">
              <a:defRPr sz="1200"/>
            </a:lvl2pPr>
            <a:lvl3pPr rtl="0">
              <a:defRPr sz="10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" dirty="0"/>
              <a:t>Klik for at redigere masterteksttypografier</a:t>
            </a:r>
            <a:endParaRPr lang="da-DK"/>
          </a:p>
          <a:p>
            <a:pPr lvl="1"/>
            <a:r>
              <a:rPr lang="da" dirty="0"/>
              <a:t>Andet niveau</a:t>
            </a:r>
            <a:endParaRPr lang="da-DK"/>
          </a:p>
          <a:p>
            <a:pPr lvl="2"/>
            <a:r>
              <a:rPr lang="da" dirty="0"/>
              <a:t>Tredje niveau</a:t>
            </a:r>
            <a:endParaRPr lang="da-DK"/>
          </a:p>
          <a:p>
            <a:pPr lvl="3"/>
            <a:r>
              <a:rPr lang="da" dirty="0"/>
              <a:t>Fjerde niveau</a:t>
            </a:r>
            <a:endParaRPr lang="da-DK"/>
          </a:p>
          <a:p>
            <a:pPr lvl="4"/>
            <a:r>
              <a:rPr lang="da" dirty="0"/>
              <a:t>Femte niveau</a:t>
            </a:r>
            <a:endParaRPr lang="da-DK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42700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613CA1F-1480-49ED-8933-67631F44A4EF}"/>
              </a:ext>
            </a:extLst>
          </p:cNvPr>
          <p:cNvCxnSpPr>
            <a:cxnSpLocks/>
          </p:cNvCxnSpPr>
          <p:nvPr userDrawn="1"/>
        </p:nvCxnSpPr>
        <p:spPr>
          <a:xfrm>
            <a:off x="7965475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7071318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40CBC96-8412-44B8-335A-869AA50574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671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0CBC96-8412-44B8-335A-869AA50574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20000" y="0"/>
            <a:ext cx="54925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7" y="240213"/>
            <a:ext cx="5184000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51840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" noProof="0" dirty="0"/>
              <a:t>Klik for at tilføje titel på maks. 2 linjer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" noProof="0" dirty="0"/>
              <a:t>Klik for at redigere masterteksttypografier</a:t>
            </a:r>
            <a:endParaRPr lang="da-DK"/>
          </a:p>
          <a:p>
            <a:pPr lvl="1"/>
            <a:r>
              <a:rPr lang="da" noProof="0" dirty="0"/>
              <a:t>Andet niveau</a:t>
            </a:r>
            <a:endParaRPr lang="da-DK"/>
          </a:p>
          <a:p>
            <a:pPr lvl="2"/>
            <a:r>
              <a:rPr lang="da" noProof="0" dirty="0"/>
              <a:t>Tredje niveau</a:t>
            </a:r>
            <a:endParaRPr lang="da-DK"/>
          </a:p>
          <a:p>
            <a:pPr lvl="3"/>
            <a:r>
              <a:rPr lang="da" noProof="0" dirty="0"/>
              <a:t>Fjerde niveau</a:t>
            </a:r>
            <a:endParaRPr lang="da-DK"/>
          </a:p>
          <a:p>
            <a:pPr lvl="4"/>
            <a:r>
              <a:rPr lang="da" noProof="0" dirty="0"/>
              <a:t>Femte niveau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4674" y="6005475"/>
            <a:ext cx="5183999" cy="176400"/>
          </a:xfrm>
        </p:spPr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3" y="1207052"/>
            <a:ext cx="5184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8355262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550A930-AF8E-DC7F-AB25-6B21A22F5C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413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0A930-AF8E-DC7F-AB25-6B21A22F5C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3337200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683763"/>
            <a:ext cx="3337200" cy="36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" noProof="0" dirty="0"/>
              <a:t>Klik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" noProof="0" dirty="0"/>
              <a:t>Klik for at redigere masterteksttypografier</a:t>
            </a:r>
            <a:endParaRPr lang="da-DK"/>
          </a:p>
          <a:p>
            <a:pPr lvl="1"/>
            <a:r>
              <a:rPr lang="da" noProof="0" dirty="0"/>
              <a:t>Andet niveau</a:t>
            </a:r>
            <a:endParaRPr lang="da-DK"/>
          </a:p>
          <a:p>
            <a:pPr lvl="2"/>
            <a:r>
              <a:rPr lang="da" noProof="0" dirty="0"/>
              <a:t>Tredje niveau</a:t>
            </a:r>
            <a:endParaRPr lang="da-DK"/>
          </a:p>
          <a:p>
            <a:pPr lvl="3"/>
            <a:r>
              <a:rPr lang="da" noProof="0" dirty="0"/>
              <a:t>Fjerde niveau</a:t>
            </a:r>
            <a:endParaRPr lang="da-DK"/>
          </a:p>
          <a:p>
            <a:pPr lvl="4"/>
            <a:r>
              <a:rPr lang="da" noProof="0" dirty="0"/>
              <a:t>Femte niveau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69600" y="0"/>
            <a:ext cx="73429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4674" y="6005475"/>
            <a:ext cx="3337200" cy="176400"/>
          </a:xfrm>
        </p:spPr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8794862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742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>
                <a:effectLst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10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3A2691B5-482F-412C-BBD0-49B6874AEE3E}"/>
              </a:ext>
            </a:extLst>
          </p:cNvPr>
          <p:cNvCxnSpPr>
            <a:cxnSpLocks/>
          </p:cNvCxnSpPr>
          <p:nvPr userDrawn="1"/>
        </p:nvCxnSpPr>
        <p:spPr>
          <a:xfrm>
            <a:off x="681608" y="1268760"/>
            <a:ext cx="720000" cy="0"/>
          </a:xfrm>
          <a:prstGeom prst="line">
            <a:avLst/>
          </a:prstGeom>
          <a:ln>
            <a:solidFill>
              <a:srgbClr val="D0244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553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628920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25799862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316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F01F18-084D-0037-62E9-8A92594CE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219734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" dirty="0"/>
              <a:t>Klik for at redigere mastertiteltypografi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82966782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3F623C3-C5B5-F4BE-96B5-7E8D9EC5F0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240" y="535710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50F96ECF-6DAD-800C-BCD8-FBBA742832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643585" y="535710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ED03D981-7F98-57E0-F999-D71B873F1B2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69930" y="535710"/>
            <a:ext cx="2835563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/>
              <a:t>Klik her for at indsætte billede via Templafy Images</a:t>
            </a:r>
            <a:endParaRPr lang="da-DK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8FB883-D26B-36C6-5EE1-E4F29CEA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53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8FB883-D26B-36C6-5EE1-E4F29CEA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F1F9589C-100E-12E6-34B5-5228277CB99E}"/>
              </a:ext>
            </a:extLst>
          </p:cNvPr>
          <p:cNvSpPr txBox="1">
            <a:spLocks/>
          </p:cNvSpPr>
          <p:nvPr userDrawn="1"/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AEAF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Pladsholder til slidenummer 6">
            <a:extLst>
              <a:ext uri="{FF2B5EF4-FFF2-40B4-BE49-F238E27FC236}">
                <a16:creationId xmlns:a16="http://schemas.microsoft.com/office/drawing/2014/main" id="{EAF0ACDC-9961-F377-913B-329491A8BDD1}"/>
              </a:ext>
            </a:extLst>
          </p:cNvPr>
          <p:cNvSpPr txBox="1">
            <a:spLocks/>
          </p:cNvSpPr>
          <p:nvPr userDrawn="1"/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AEAFA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3" name="Picture Placeholder 15">
            <a:extLst>
              <a:ext uri="{FF2B5EF4-FFF2-40B4-BE49-F238E27FC236}">
                <a16:creationId xmlns:a16="http://schemas.microsoft.com/office/drawing/2014/main" id="{0265AFEB-9F29-2C12-2B66-F6A395F5D11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17240" y="2473037"/>
            <a:ext cx="4073235" cy="3800765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 dirty="0"/>
              <a:t>Klik her for at indsætte billede via Templafy Images</a:t>
            </a:r>
            <a:endParaRPr lang="da-DK"/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3144865D-4B38-00B5-3CDF-15BD0289CCE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641275" y="4410363"/>
            <a:ext cx="6964218" cy="1870364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/>
              <a:t>Klik her for at indsætte billede via Templafy Images</a:t>
            </a:r>
            <a:endParaRPr lang="da-DK" dirty="0"/>
          </a:p>
        </p:txBody>
      </p:sp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2B49A7F9-AB5D-F6A0-140B-DC56F15DA64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638967" y="2473037"/>
            <a:ext cx="4073235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/>
              <a:t>Klik her for at indsætte billede via Templafy Images</a:t>
            </a:r>
            <a:endParaRPr lang="da-DK" dirty="0"/>
          </a:p>
        </p:txBody>
      </p:sp>
      <p:sp>
        <p:nvSpPr>
          <p:cNvPr id="5" name="Picture Placeholder 15">
            <a:extLst>
              <a:ext uri="{FF2B5EF4-FFF2-40B4-BE49-F238E27FC236}">
                <a16:creationId xmlns:a16="http://schemas.microsoft.com/office/drawing/2014/main" id="{0C3C74C0-FF5B-3772-2F34-303E8197709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769930" y="2473037"/>
            <a:ext cx="2835563" cy="188421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"/>
              <a:t>Klik her for at indsætte billede via Templafy Image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99603731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AAF6E80-2AE8-509F-782D-1B0F8EEF1F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034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AF6E80-2AE8-509F-782D-1B0F8EEF1F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id="{84705215-85BF-4037-8F1F-60423D1500F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 rtl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" dirty="0"/>
              <a:t>Klik for at tilføje undertekst på én linje. Kan også bruges, hvis titlen er én linje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" dirty="0"/>
              <a:t>Klik for at tilføje titel i maks. to linjer, hvis to linjer, slet undertekst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F4E4B8A-738A-49D8-82C2-F98D597CC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804832D-E38B-4FF8-910F-63F742D91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13C99DE-E8E7-470D-B715-106F7920B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F4E1CA-F7A5-46BD-8840-7FDE4E1671E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60779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CFC550F-0103-DA63-F8B7-B2F5746B6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951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FC550F-0103-DA63-F8B7-B2F5746B6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43040" y="1215574"/>
            <a:ext cx="2786833" cy="4216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sz="1600" b="1" dirty="0">
                <a:latin typeface="Arial" panose="020B0604020202020204" pitchFamily="34" charset="0"/>
                <a:cs typeface="Arial" panose="020B0604020202020204" pitchFamily="34" charset="0"/>
              </a:rPr>
              <a:t>Billeder</a:t>
            </a:r>
            <a:br>
              <a:rPr lang="en-GB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virksomhedsbillede fra Templafy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lik på den blå </a:t>
            </a:r>
            <a:r>
              <a:rPr lang="da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-knap </a:t>
            </a:r>
            <a:r>
              <a:rPr lang="da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 rullemenuen </a:t>
            </a:r>
            <a:r>
              <a:rPr lang="da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r</a:t>
            </a:r>
            <a:r>
              <a:rPr lang="da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klik på </a:t>
            </a:r>
            <a:r>
              <a:rPr lang="da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r </a:t>
            </a:r>
            <a:r>
              <a:rPr lang="da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appen i Templafy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den i højre side af skærm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dias med billedpladsholder skal du klikke på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konet og vælge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  <a:endParaRPr lang="da-DK"/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Beskær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størrelse eller fokus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vil skalere billedet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al du holde SHIFT-tasten nede, mens  du trækker i hjørnerne af billedet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: 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gge foran teksten eller grafikken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ette sker, skal du markere billedet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ke og vælge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gerst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10404055" y="1483655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2302" y="1215574"/>
            <a:ext cx="228036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sz="1600" b="1" dirty="0">
                <a:latin typeface="Arial" panose="020B0604020202020204" pitchFamily="34" charset="0"/>
                <a:cs typeface="Arial" panose="020B0604020202020204" pitchFamily="34" charset="0"/>
              </a:rPr>
              <a:t>Teksttypografier</a:t>
            </a:r>
            <a:endParaRPr lang="da-DK" alt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-tasten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l at springe gennem niveauer. Klik på </a:t>
            </a:r>
            <a:r>
              <a:rPr lang="da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 </a:t>
            </a:r>
            <a:r>
              <a:rPr lang="da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derefter </a:t>
            </a:r>
            <a:r>
              <a:rPr lang="da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TAB</a:t>
            </a:r>
            <a:r>
              <a:rPr lang="da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det næste niveau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vil gå tilbage i niveauer, skal du bruge </a:t>
            </a:r>
            <a:r>
              <a:rPr lang="da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FT-TAB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 kan </a:t>
            </a:r>
            <a:r>
              <a:rPr lang="da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b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eniveau bruges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: Brug punkttegnsknap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et punkttegn for almindelig tekst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punktknappen for at få det rigtige punkt ig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sz="1600" b="1" dirty="0">
                <a:latin typeface="Arial" panose="020B0604020202020204" pitchFamily="34" charset="0"/>
                <a:cs typeface="Arial" panose="020B0604020202020204" pitchFamily="34" charset="0"/>
              </a:rPr>
              <a:t>Slides og layouts</a:t>
            </a: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en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nen Hjem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indsætte et nyt dias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ft layout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lik på pilen ud for </a:t>
            </a:r>
            <a:r>
              <a:rPr lang="da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da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or at se en rullemenu med mulige diaslayouts.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 menuen </a:t>
            </a:r>
            <a:r>
              <a:rPr lang="da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</a:t>
            </a:r>
            <a:r>
              <a:rPr lang="da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nulstille placering, størrelse og formatering af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spladsholderne til deres standardindstillinger.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49121" y="2924778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49662" y="2201595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3901" t="45142" r="62601" b="9046"/>
          <a:stretch/>
        </p:blipFill>
        <p:spPr>
          <a:xfrm>
            <a:off x="10404055" y="2726384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855543" y="3915330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855543" y="5243483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460076" y="3536124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85407" y="1215574"/>
            <a:ext cx="2358243" cy="4755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sz="1600" b="1" dirty="0">
                <a:latin typeface="Arial" panose="020B0604020202020204" pitchFamily="34" charset="0"/>
                <a:cs typeface="Arial" panose="020B0604020202020204" pitchFamily="34" charset="0"/>
              </a:rPr>
              <a:t>Sidehoved og sidefod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til allersidst for at anvende ændringerne på alle dias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od 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 fanen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skriv den ønskede tekst)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, hvis det kun bruges på én slide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sz="1600" b="1" dirty="0">
                <a:latin typeface="Arial" panose="020B0604020202020204" pitchFamily="34" charset="0"/>
                <a:cs typeface="Arial" panose="020B0604020202020204" pitchFamily="34" charset="0"/>
              </a:rPr>
              <a:t>Gitterlinjer</a:t>
            </a:r>
            <a:endParaRPr 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 fanen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 og sæt flueben ud for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r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: Alt + F9 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guider.</a:t>
            </a:r>
            <a:endParaRPr lang="da-DK"/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sz="1600" b="1" dirty="0">
                <a:latin typeface="Arial" panose="020B0604020202020204" pitchFamily="34" charset="0"/>
                <a:cs typeface="Arial" panose="020B0604020202020204" pitchFamily="34" charset="0"/>
              </a:rPr>
              <a:t>Slides og slideelementer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foruddefinerede dias og elementer fra knappen Templafy. Vælg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-elementer 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rullemenuen eller fra knapperne i Templafy-ruden i højre side af skærmen. 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 er også her, du finder de nye </a:t>
            </a:r>
            <a:r>
              <a:rPr lang="da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ck-ikoner</a:t>
            </a:r>
            <a:r>
              <a:rPr lang="da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For vejledning om, hvordan du bruger vores nye ikoner, kan du gå til vores brandretningslinjer i Falck Brand Portal.</a:t>
            </a:r>
            <a:endParaRPr lang="da-DK"/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74675" y="312083"/>
            <a:ext cx="110743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rtl="0"/>
            <a:r>
              <a:rPr lang="da" sz="28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og tricks – din brugervejledning</a:t>
            </a:r>
            <a:endParaRPr lang="da-DK"/>
          </a:p>
        </p:txBody>
      </p:sp>
      <p:pic>
        <p:nvPicPr>
          <p:cNvPr id="66" name="Picture 2" descr="C:\Brugere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752" y="424340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855542" y="4678942"/>
            <a:ext cx="475428" cy="176762"/>
          </a:xfrm>
          <a:prstGeom prst="rect">
            <a:avLst/>
          </a:prstGeom>
        </p:spPr>
      </p:pic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D355E5A9-A789-447E-83E7-9F167F2E41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E598E2B2-BC68-46C6-BFC0-A749474A5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3ECE9A96-886A-4574-8BCF-07A9134A5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01683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CA2E21-8E36-C137-3BC2-B1713FB916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287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CA2E21-8E36-C137-3BC2-B1713FB91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" sz="4400" b="0" noProof="0" dirty="0">
                <a:solidFill>
                  <a:schemeClr val="bg1"/>
                </a:solidFill>
              </a:rPr>
              <a:t>Hvis du ser nogen </a:t>
            </a:r>
            <a:r>
              <a:rPr lang="da" sz="4400" b="1" i="1" noProof="0" dirty="0">
                <a:solidFill>
                  <a:schemeClr val="bg1"/>
                </a:solidFill>
              </a:rPr>
              <a:t>layouts efter denne,brug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da" sz="4400" b="0" noProof="0" dirty="0">
                <a:solidFill>
                  <a:schemeClr val="bg1"/>
                </a:solidFill>
              </a:rPr>
              <a:t> dem ikke. Disse layouts </a:t>
            </a:r>
            <a:r>
              <a:rPr lang="da" sz="4400" b="1" i="1" u="none" noProof="0" dirty="0">
                <a:solidFill>
                  <a:schemeClr val="bg1"/>
                </a:solidFill>
              </a:rPr>
              <a:t>er ikke </a:t>
            </a:r>
            <a:r>
              <a:rPr lang="da" sz="4400" b="0" noProof="0" dirty="0">
                <a:solidFill>
                  <a:schemeClr val="bg1"/>
                </a:solidFill>
              </a:rPr>
              <a:t>en del af vores virksomhedsskabelon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da" sz="13800" b="1" i="1" noProof="0" dirty="0">
                <a:solidFill>
                  <a:schemeClr val="bg1"/>
                </a:solidFill>
              </a:rPr>
              <a:t>Brug ikke </a:t>
            </a:r>
            <a:endParaRPr lang="da-DK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" sz="2000" b="0" noProof="0" dirty="0">
                <a:solidFill>
                  <a:schemeClr val="bg1"/>
                </a:solidFill>
              </a:rPr>
              <a:t>På grund af PowerPoints standard Copy/Paste-funktionalitet kan der forekomme ekstra uønskede layouts.</a:t>
            </a:r>
            <a:endParaRPr lang="da-DK"/>
          </a:p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" sz="2000" b="0" noProof="0" dirty="0">
                <a:solidFill>
                  <a:schemeClr val="bg1"/>
                </a:solidFill>
              </a:rPr>
              <a:t>Bemærk også: Layouts efter dette kan indeholde potentielle fortrolige oplysninger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273413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D02448">
            <a:alpha val="9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84"/>
          <a:stretch/>
        </p:blipFill>
        <p:spPr>
          <a:xfrm>
            <a:off x="10032437" y="0"/>
            <a:ext cx="2135560" cy="6852128"/>
          </a:xfrm>
          <a:prstGeom prst="rect">
            <a:avLst/>
          </a:prstGeom>
        </p:spPr>
      </p:pic>
      <p:pic>
        <p:nvPicPr>
          <p:cNvPr id="4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10"/>
          <a:stretch/>
        </p:blipFill>
        <p:spPr>
          <a:xfrm>
            <a:off x="0" y="0"/>
            <a:ext cx="10776520" cy="6852128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5051" y="2586353"/>
            <a:ext cx="2834356" cy="10801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6865" y="4005064"/>
            <a:ext cx="10363200" cy="100811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br>
              <a:rPr lang="en-GB" dirty="0"/>
            </a:br>
            <a:r>
              <a:rPr lang="da" dirty="0"/>
              <a:t>Klik for at redigere mastertiteltypografi </a:t>
            </a:r>
            <a:br>
              <a:rPr lang="en-GB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91478" y="4797152"/>
            <a:ext cx="7104789" cy="57606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rgbClr val="E7D2AD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" dirty="0"/>
              <a:t>Klik for at redigere Master-undertekst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77319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4000" b="1">
                <a:effectLst/>
              </a:defRPr>
            </a:lvl1pPr>
          </a:lstStyle>
          <a:p>
            <a:r>
              <a:rPr lang="da" dirty="0"/>
              <a:t>Klik for at redigere mastertiteltypografi</a:t>
            </a:r>
            <a:endParaRPr lang="en-US" dirty="0"/>
          </a:p>
        </p:txBody>
      </p:sp>
      <p:pic>
        <p:nvPicPr>
          <p:cNvPr id="7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7346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" dirty="0"/>
              <a:t>Klik for at redigere masterteksttypografier</a:t>
            </a:r>
          </a:p>
          <a:p>
            <a:pPr lvl="1"/>
            <a:r>
              <a:rPr lang="da" dirty="0"/>
              <a:t>Andet niveau</a:t>
            </a:r>
          </a:p>
          <a:p>
            <a:pPr lvl="2"/>
            <a:r>
              <a:rPr lang="da" dirty="0"/>
              <a:t>Tredje niveau</a:t>
            </a:r>
          </a:p>
          <a:p>
            <a:pPr lvl="3"/>
            <a:r>
              <a:rPr lang="da" dirty="0"/>
              <a:t>Fjerde niveau</a:t>
            </a:r>
          </a:p>
          <a:p>
            <a:pPr lvl="4"/>
            <a:r>
              <a:rPr lang="da" dirty="0"/>
              <a:t>Femte niveau</a:t>
            </a:r>
            <a:endParaRPr lang="en-US" dirty="0"/>
          </a:p>
        </p:txBody>
      </p:sp>
      <p:pic>
        <p:nvPicPr>
          <p:cNvPr id="17" name="Billed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8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789312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a" dirty="0"/>
              <a:t>Klik for at redigere mastertiteltypografi</a:t>
            </a:r>
            <a:endParaRPr lang="en-US" dirty="0"/>
          </a:p>
        </p:txBody>
      </p:sp>
      <p:pic>
        <p:nvPicPr>
          <p:cNvPr id="7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626"/>
          <a:stretch/>
        </p:blipFill>
        <p:spPr>
          <a:xfrm>
            <a:off x="-13807" y="6035096"/>
            <a:ext cx="12205807" cy="822905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" dirty="0"/>
              <a:t>Klik for at redigere masterteksttypografier</a:t>
            </a: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pic>
        <p:nvPicPr>
          <p:cNvPr id="8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465"/>
          <a:stretch/>
        </p:blipFill>
        <p:spPr>
          <a:xfrm>
            <a:off x="406" y="6035096"/>
            <a:ext cx="9840010" cy="822905"/>
          </a:xfrm>
          <a:prstGeom prst="rect">
            <a:avLst/>
          </a:prstGeom>
        </p:spPr>
      </p:pic>
      <p:sp>
        <p:nvSpPr>
          <p:cNvPr id="14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95409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742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>
                <a:effectLst/>
              </a:defRPr>
            </a:lvl1pPr>
          </a:lstStyle>
          <a:p>
            <a:r>
              <a:rPr lang="da" dirty="0"/>
              <a:t>Klik for at redigere mastertiteltypograf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" dirty="0"/>
              <a:t>Klik for at redigere masterteksttypografier</a:t>
            </a:r>
          </a:p>
          <a:p>
            <a:pPr lvl="1"/>
            <a:r>
              <a:rPr lang="da" dirty="0"/>
              <a:t>Andet niveau</a:t>
            </a:r>
          </a:p>
          <a:p>
            <a:pPr lvl="2"/>
            <a:r>
              <a:rPr lang="da" dirty="0"/>
              <a:t>Tredje niveau</a:t>
            </a:r>
          </a:p>
          <a:p>
            <a:pPr lvl="3"/>
            <a:r>
              <a:rPr lang="da" dirty="0"/>
              <a:t>Fjerde niveau</a:t>
            </a:r>
          </a:p>
          <a:p>
            <a:pPr lvl="4"/>
            <a:r>
              <a:rPr lang="da" dirty="0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" dirty="0"/>
              <a:t>Klik for at redigere masterteksttypografier</a:t>
            </a:r>
          </a:p>
          <a:p>
            <a:pPr lvl="1"/>
            <a:r>
              <a:rPr lang="da" dirty="0"/>
              <a:t>Andet niveau</a:t>
            </a:r>
          </a:p>
          <a:p>
            <a:pPr lvl="2"/>
            <a:r>
              <a:rPr lang="da" dirty="0"/>
              <a:t>Tredje niveau</a:t>
            </a:r>
          </a:p>
          <a:p>
            <a:pPr lvl="3"/>
            <a:r>
              <a:rPr lang="da" dirty="0"/>
              <a:t>Fjerde niveau</a:t>
            </a:r>
          </a:p>
          <a:p>
            <a:pPr lvl="4"/>
            <a:r>
              <a:rPr lang="da" dirty="0"/>
              <a:t>Femte niveau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pic>
        <p:nvPicPr>
          <p:cNvPr id="11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465"/>
          <a:stretch/>
        </p:blipFill>
        <p:spPr>
          <a:xfrm>
            <a:off x="406" y="6035096"/>
            <a:ext cx="9840010" cy="822905"/>
          </a:xfrm>
          <a:prstGeom prst="rect">
            <a:avLst/>
          </a:prstGeom>
        </p:spPr>
      </p:pic>
      <p:sp>
        <p:nvSpPr>
          <p:cNvPr id="14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28367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9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742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>
                <a:effectLst/>
              </a:defRPr>
            </a:lvl1pPr>
          </a:lstStyle>
          <a:p>
            <a:r>
              <a:rPr lang="da" dirty="0"/>
              <a:t>Klik for at redigere mastertiteltypografi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rmAutofit/>
          </a:bodyPr>
          <a:lstStyle>
            <a:lvl1pPr marL="0" indent="0">
              <a:buNone/>
              <a:defRPr sz="2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" dirty="0"/>
              <a:t>Klik for at redigere masterteksttypografi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" dirty="0"/>
              <a:t>Klik for at redigere masterteksttypografier</a:t>
            </a:r>
          </a:p>
          <a:p>
            <a:pPr lvl="1"/>
            <a:r>
              <a:rPr lang="da" dirty="0"/>
              <a:t>Andet niveau</a:t>
            </a:r>
          </a:p>
          <a:p>
            <a:pPr lvl="2"/>
            <a:r>
              <a:rPr lang="da" dirty="0"/>
              <a:t>Tredje niveau</a:t>
            </a:r>
          </a:p>
          <a:p>
            <a:pPr lvl="3"/>
            <a:r>
              <a:rPr lang="da" dirty="0"/>
              <a:t>Fjerde niveau</a:t>
            </a:r>
          </a:p>
          <a:p>
            <a:pPr lvl="4"/>
            <a:r>
              <a:rPr lang="da" dirty="0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>
            <a:normAutofit/>
          </a:bodyPr>
          <a:lstStyle>
            <a:lvl1pPr marL="0" indent="0">
              <a:buNone/>
              <a:defRPr sz="2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" dirty="0"/>
              <a:t>Klik for at redigere masterteksttypografi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" dirty="0"/>
              <a:t>Klik for at redigere masterteksttypografier</a:t>
            </a:r>
          </a:p>
          <a:p>
            <a:pPr lvl="1"/>
            <a:r>
              <a:rPr lang="da" dirty="0"/>
              <a:t>Andet niveau</a:t>
            </a:r>
          </a:p>
          <a:p>
            <a:pPr lvl="2"/>
            <a:r>
              <a:rPr lang="da" dirty="0"/>
              <a:t>Tredje niveau</a:t>
            </a:r>
          </a:p>
          <a:p>
            <a:pPr lvl="3"/>
            <a:r>
              <a:rPr lang="da" dirty="0"/>
              <a:t>Fjerde niveau</a:t>
            </a:r>
          </a:p>
          <a:p>
            <a:pPr lvl="4"/>
            <a:r>
              <a:rPr lang="da" dirty="0"/>
              <a:t>Femte niveau</a:t>
            </a:r>
            <a:endParaRPr lang="en-US" dirty="0"/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14" name="Pladsholder til slidenummer 4"/>
          <p:cNvSpPr>
            <a:spLocks noGrp="1"/>
          </p:cNvSpPr>
          <p:nvPr>
            <p:ph type="sldNum" sz="quarter" idx="10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464097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742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>
                <a:effectLst/>
              </a:defRPr>
            </a:lvl1pPr>
          </a:lstStyle>
          <a:p>
            <a:r>
              <a:rPr lang="da" dirty="0"/>
              <a:t>Klik for at redigere mastertiteltypografi</a:t>
            </a:r>
            <a:endParaRPr lang="en-US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10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7467739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9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144079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>
            <a:normAutofit/>
          </a:bodyPr>
          <a:lstStyle>
            <a:lvl1pPr algn="l">
              <a:defRPr sz="3200" b="1">
                <a:effectLst/>
              </a:defRPr>
            </a:lvl1pPr>
          </a:lstStyle>
          <a:p>
            <a:r>
              <a:rPr lang="da" dirty="0"/>
              <a:t>Klik for at redigere mastertiteltypograf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" dirty="0"/>
              <a:t>Klik for at redigere masterteksttypografier</a:t>
            </a:r>
          </a:p>
          <a:p>
            <a:pPr lvl="1"/>
            <a:r>
              <a:rPr lang="da" dirty="0"/>
              <a:t>Andet niveau</a:t>
            </a:r>
          </a:p>
          <a:p>
            <a:pPr lvl="2"/>
            <a:r>
              <a:rPr lang="da" dirty="0"/>
              <a:t>Tredje niveau</a:t>
            </a:r>
          </a:p>
          <a:p>
            <a:pPr lvl="3"/>
            <a:r>
              <a:rPr lang="da" dirty="0"/>
              <a:t>Fjerde niveau</a:t>
            </a:r>
          </a:p>
          <a:p>
            <a:pPr lvl="4"/>
            <a:r>
              <a:rPr lang="da" dirty="0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" dirty="0"/>
              <a:t>Klik for at redigere masterteksttypografier</a:t>
            </a:r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pic>
        <p:nvPicPr>
          <p:cNvPr id="11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465"/>
          <a:stretch/>
        </p:blipFill>
        <p:spPr>
          <a:xfrm>
            <a:off x="406" y="6035096"/>
            <a:ext cx="9840010" cy="822905"/>
          </a:xfrm>
          <a:prstGeom prst="rect">
            <a:avLst/>
          </a:prstGeom>
        </p:spPr>
      </p:pic>
      <p:sp>
        <p:nvSpPr>
          <p:cNvPr id="14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2996556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4834530"/>
            <a:ext cx="10959356" cy="428600"/>
          </a:xfrm>
        </p:spPr>
        <p:txBody>
          <a:bodyPr anchor="b">
            <a:normAutofit/>
          </a:bodyPr>
          <a:lstStyle>
            <a:lvl1pPr algn="l">
              <a:defRPr sz="2400" b="1"/>
            </a:lvl1pPr>
          </a:lstStyle>
          <a:p>
            <a:r>
              <a:rPr lang="da" dirty="0"/>
              <a:t>Klik for at redigere mastertiteltypografi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23392" y="612775"/>
            <a:ext cx="10945216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3392" y="5401268"/>
            <a:ext cx="10945215" cy="59769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" dirty="0"/>
              <a:t>Klik for at redigere masterteksttypografier</a:t>
            </a:r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12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5689582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620689"/>
            <a:ext cx="10972800" cy="5505476"/>
          </a:xfrm>
        </p:spPr>
        <p:txBody>
          <a:bodyPr vert="eaVert"/>
          <a:lstStyle/>
          <a:p>
            <a:pPr lvl="0"/>
            <a:r>
              <a:rPr lang="da" dirty="0"/>
              <a:t>Klik for at redigere masterteksttypografier</a:t>
            </a:r>
          </a:p>
          <a:p>
            <a:pPr lvl="1"/>
            <a:r>
              <a:rPr lang="da" dirty="0"/>
              <a:t>Andet niveau</a:t>
            </a:r>
          </a:p>
          <a:p>
            <a:pPr lvl="2"/>
            <a:r>
              <a:rPr lang="da" dirty="0"/>
              <a:t>Tredje niveau</a:t>
            </a:r>
          </a:p>
          <a:p>
            <a:pPr lvl="3"/>
            <a:r>
              <a:rPr lang="da" dirty="0"/>
              <a:t>Fjerde niveau</a:t>
            </a:r>
          </a:p>
          <a:p>
            <a:pPr lvl="4"/>
            <a:r>
              <a:rPr lang="da" dirty="0"/>
              <a:t>Femte niveau</a:t>
            </a:r>
            <a:endParaRPr lang="en-US" dirty="0"/>
          </a:p>
        </p:txBody>
      </p:sp>
      <p:pic>
        <p:nvPicPr>
          <p:cNvPr id="11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 rot="5400000">
            <a:off x="-3016547" y="3015000"/>
            <a:ext cx="6858000" cy="828000"/>
          </a:xfrm>
          <a:prstGeom prst="rect">
            <a:avLst/>
          </a:prstGeom>
        </p:spPr>
      </p:pic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91549" y="5410628"/>
            <a:ext cx="1008000" cy="384129"/>
          </a:xfrm>
          <a:prstGeom prst="rect">
            <a:avLst/>
          </a:prstGeom>
        </p:spPr>
      </p:pic>
      <p:sp>
        <p:nvSpPr>
          <p:cNvPr id="7" name="Pladsholder til slidenummer 4"/>
          <p:cNvSpPr>
            <a:spLocks noGrp="1"/>
          </p:cNvSpPr>
          <p:nvPr>
            <p:ph type="sldNum" sz="quarter" idx="4"/>
          </p:nvPr>
        </p:nvSpPr>
        <p:spPr>
          <a:xfrm rot="5400000">
            <a:off x="-2599063" y="3386197"/>
            <a:ext cx="60040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797246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692696"/>
            <a:ext cx="2743200" cy="5413997"/>
          </a:xfrm>
        </p:spPr>
        <p:txBody>
          <a:bodyPr vert="eaVert">
            <a:normAutofit/>
          </a:bodyPr>
          <a:lstStyle>
            <a:lvl1pPr>
              <a:defRPr sz="4000">
                <a:effectLst/>
              </a:defRPr>
            </a:lvl1pPr>
          </a:lstStyle>
          <a:p>
            <a:r>
              <a:rPr lang="da" dirty="0"/>
              <a:t>Klik for at redigere mastertiteltypografi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1384" y="692696"/>
            <a:ext cx="8438729" cy="5413997"/>
          </a:xfrm>
        </p:spPr>
        <p:txBody>
          <a:bodyPr vert="eaVert"/>
          <a:lstStyle/>
          <a:p>
            <a:pPr lvl="0"/>
            <a:r>
              <a:rPr lang="da" dirty="0"/>
              <a:t>Klik for at redigere masterteksttypografier</a:t>
            </a:r>
          </a:p>
          <a:p>
            <a:pPr lvl="1"/>
            <a:r>
              <a:rPr lang="da" dirty="0"/>
              <a:t>Andet niveau</a:t>
            </a:r>
          </a:p>
          <a:p>
            <a:pPr lvl="2"/>
            <a:r>
              <a:rPr lang="da" dirty="0"/>
              <a:t>Tredje niveau</a:t>
            </a:r>
          </a:p>
          <a:p>
            <a:pPr lvl="3"/>
            <a:r>
              <a:rPr lang="da" dirty="0"/>
              <a:t>Fjerde niveau</a:t>
            </a:r>
          </a:p>
          <a:p>
            <a:pPr lvl="4"/>
            <a:r>
              <a:rPr lang="da" dirty="0"/>
              <a:t>Femte niveau</a:t>
            </a:r>
            <a:endParaRPr lang="en-US" dirty="0"/>
          </a:p>
        </p:txBody>
      </p:sp>
      <p:pic>
        <p:nvPicPr>
          <p:cNvPr id="9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 rot="5400000">
            <a:off x="-3039680" y="3015002"/>
            <a:ext cx="6858000" cy="828000"/>
          </a:xfrm>
          <a:prstGeom prst="rect">
            <a:avLst/>
          </a:prstGeom>
        </p:spPr>
      </p:pic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91549" y="5410628"/>
            <a:ext cx="1008000" cy="384129"/>
          </a:xfrm>
          <a:prstGeom prst="rect">
            <a:avLst/>
          </a:prstGeom>
        </p:spPr>
      </p:pic>
      <p:sp>
        <p:nvSpPr>
          <p:cNvPr id="8" name="Pladsholder til slidenummer 4"/>
          <p:cNvSpPr>
            <a:spLocks noGrp="1"/>
          </p:cNvSpPr>
          <p:nvPr>
            <p:ph type="sldNum" sz="quarter" idx="4"/>
          </p:nvPr>
        </p:nvSpPr>
        <p:spPr>
          <a:xfrm rot="5400000">
            <a:off x="-2599063" y="3386197"/>
            <a:ext cx="60040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391107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bg>
      <p:bgPr>
        <a:solidFill>
          <a:schemeClr val="accent2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7592" y="274638"/>
            <a:ext cx="11103024" cy="1143000"/>
          </a:xfrm>
        </p:spPr>
        <p:txBody>
          <a:bodyPr>
            <a:normAutofit/>
          </a:bodyPr>
          <a:lstStyle>
            <a:lvl1pPr marL="0" algn="l" defTabSz="457200" rtl="0" eaLnBrk="1" latinLnBrk="0" hangingPunct="1">
              <a:spcBef>
                <a:spcPct val="0"/>
              </a:spcBef>
              <a:buNone/>
              <a:defRPr lang="da-DK" sz="4000" b="1" kern="1200" dirty="0">
                <a:solidFill>
                  <a:srgbClr val="E7D2A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da" dirty="0"/>
              <a:t>Klik for at redigere i master</a:t>
            </a:r>
          </a:p>
        </p:txBody>
      </p:sp>
      <p:cxnSp>
        <p:nvCxnSpPr>
          <p:cNvPr id="5" name="Lige forbindelse 4"/>
          <p:cNvCxnSpPr/>
          <p:nvPr userDrawn="1"/>
        </p:nvCxnSpPr>
        <p:spPr>
          <a:xfrm>
            <a:off x="623392" y="1196752"/>
            <a:ext cx="1224000" cy="0"/>
          </a:xfrm>
          <a:prstGeom prst="line">
            <a:avLst/>
          </a:prstGeom>
          <a:ln w="12700">
            <a:solidFill>
              <a:srgbClr val="D0244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7346"/>
          <a:stretch/>
        </p:blipFill>
        <p:spPr>
          <a:xfrm>
            <a:off x="406" y="6062479"/>
            <a:ext cx="12191594" cy="822905"/>
          </a:xfrm>
          <a:prstGeom prst="rect">
            <a:avLst/>
          </a:prstGeom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711349"/>
            <a:ext cx="10972800" cy="4525963"/>
          </a:xfr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lnSpc>
                <a:spcPct val="120000"/>
              </a:lnSpc>
              <a:buClr>
                <a:prstClr val="white"/>
              </a:buClr>
              <a:buFont typeface="Wingdings" panose="05000000000000000000" pitchFamily="2" charset="2"/>
              <a:buChar char="§"/>
              <a:defRPr lang="en-GB" sz="2400" kern="1200" dirty="0" smtClean="0">
                <a:solidFill>
                  <a:srgbClr val="E7D2AD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Clr>
                <a:srgbClr val="D02448"/>
              </a:buClr>
              <a:buFont typeface="Wingdings" panose="05000000000000000000" pitchFamily="2" charset="2"/>
              <a:buChar char="§"/>
              <a:defRPr lang="en-GB" sz="2000" kern="1200" dirty="0" smtClean="0">
                <a:solidFill>
                  <a:srgbClr val="E7D2AD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chemeClr val="bg1"/>
              </a:buClr>
              <a:defRPr lang="en-GB" sz="1800" kern="1200" dirty="0" smtClean="0">
                <a:solidFill>
                  <a:srgbClr val="E7D2AD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chemeClr val="bg1"/>
              </a:buClr>
              <a:defRPr sz="1600">
                <a:solidFill>
                  <a:srgbClr val="E6D1AC"/>
                </a:solidFill>
              </a:defRPr>
            </a:lvl4pPr>
            <a:lvl5pPr marL="2057400" indent="-228600"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rgbClr val="E6D1AC"/>
                </a:solidFill>
              </a:defRPr>
            </a:lvl5pPr>
          </a:lstStyle>
          <a:p>
            <a:pPr lvl="0"/>
            <a:r>
              <a:rPr lang="da" dirty="0"/>
              <a:t>Klik for at redigere masterteksttypografier</a:t>
            </a:r>
          </a:p>
          <a:p>
            <a:pPr lvl="1"/>
            <a:r>
              <a:rPr lang="da" dirty="0"/>
              <a:t>Andet niveau</a:t>
            </a:r>
          </a:p>
          <a:p>
            <a:pPr lvl="2"/>
            <a:r>
              <a:rPr lang="da" dirty="0"/>
              <a:t>Tredje niveau</a:t>
            </a:r>
          </a:p>
          <a:p>
            <a:pPr lvl="3"/>
            <a:r>
              <a:rPr lang="da" dirty="0"/>
              <a:t>Fjerde niveau</a:t>
            </a:r>
          </a:p>
          <a:p>
            <a:pPr lvl="4"/>
            <a:r>
              <a:rPr lang="da" dirty="0"/>
              <a:t>Femte niveau</a:t>
            </a:r>
            <a:endParaRPr lang="en-US" dirty="0"/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226025"/>
            <a:ext cx="1463245" cy="557615"/>
          </a:xfrm>
          <a:prstGeom prst="rect">
            <a:avLst/>
          </a:prstGeom>
        </p:spPr>
      </p:pic>
      <p:sp>
        <p:nvSpPr>
          <p:cNvPr id="10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5482459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C51160-4C23-14F0-522A-E15B57FC3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305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51160-4C23-14F0-522A-E15B57FC3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9706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8299A1-8C39-237E-B0D4-11A98F94F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44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8299A1-8C39-237E-B0D4-11A98F94F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6670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>
            <a:normAutofit/>
          </a:bodyPr>
          <a:lstStyle>
            <a:lvl1pPr algn="l">
              <a:defRPr sz="3200" b="1">
                <a:effectLst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pic>
        <p:nvPicPr>
          <p:cNvPr id="11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465"/>
          <a:stretch/>
        </p:blipFill>
        <p:spPr>
          <a:xfrm>
            <a:off x="406" y="6035096"/>
            <a:ext cx="9840010" cy="822905"/>
          </a:xfrm>
          <a:prstGeom prst="rect">
            <a:avLst/>
          </a:prstGeom>
        </p:spPr>
      </p:pic>
      <p:sp>
        <p:nvSpPr>
          <p:cNvPr id="14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392976D-AAEE-A0F3-EDEC-0494F7418F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293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2976D-AAEE-A0F3-EDEC-0494F7418F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919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0EC43D7-EFE0-2343-FA7A-BBF24C06D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713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EC43D7-EFE0-2343-FA7A-BBF24C06D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CBF60633-324E-44A8-9D97-FA602AA6E7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38458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dark red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25AC969-E52A-19F3-046F-5708D86EB4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881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5AC969-E52A-19F3-046F-5708D86EB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9" name="Logo white">
            <a:extLst>
              <a:ext uri="{FF2B5EF4-FFF2-40B4-BE49-F238E27FC236}">
                <a16:creationId xmlns:a16="http://schemas.microsoft.com/office/drawing/2014/main" id="{5EA349C7-691C-E943-9E5D-D9E3A0DAAD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90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37A4D84-D2EF-A5BE-1BAD-B27904CA8D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535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7A4D84-D2EF-A5BE-1BAD-B27904CA8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64859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DE2D5F-7A51-027E-5D15-3B966C64D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96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DE2D5F-7A51-027E-5D15-3B966C64D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88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88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44135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1BD81CB-E9C4-4E4E-28B9-6E87222A45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745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BD81CB-E9C4-4E4E-28B9-6E87222A4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04C95292-CA88-4F91-85C3-4AD11D5A4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" name="Logo white">
            <a:extLst>
              <a:ext uri="{FF2B5EF4-FFF2-40B4-BE49-F238E27FC236}">
                <a16:creationId xmlns:a16="http://schemas.microsoft.com/office/drawing/2014/main" id="{4371357E-DE8E-8043-AA98-43C7089B5A2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7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84CEBAC-6680-E7F0-79CB-750156DAA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663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CEBAC-6680-E7F0-79CB-750156DAA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7977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006F1A3-7267-B05B-A734-03B9435617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510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06F1A3-7267-B05B-A734-03B943561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vert="horz" anchor="t" anchorCtr="0"/>
          <a:lstStyle>
            <a:lvl1pPr algn="l" rtl="0">
              <a:lnSpc>
                <a:spcPct val="83000"/>
              </a:lnSpc>
              <a:defRPr sz="6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accent5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Click to edit Master subtitle style</a:t>
            </a:r>
            <a:endParaRPr lang="da-DK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noFill/>
              </a:defRPr>
            </a:lvl1pPr>
            <a:lvl2pPr rtl="0">
              <a:defRPr sz="100">
                <a:noFill/>
              </a:defRPr>
            </a:lvl2pPr>
            <a:lvl3pPr rtl="0">
              <a:defRPr sz="100">
                <a:noFill/>
              </a:defRPr>
            </a:lvl3pPr>
            <a:lvl4pPr rtl="0">
              <a:defRPr sz="100">
                <a:noFill/>
              </a:defRPr>
            </a:lvl4pPr>
            <a:lvl5pPr rtl="0">
              <a:defRPr sz="100">
                <a:noFill/>
              </a:defRPr>
            </a:lvl5pPr>
          </a:lstStyle>
          <a:p>
            <a:pPr lvl="0"/>
            <a:r>
              <a:rPr lang="da-DK" dirty="0"/>
              <a:t>Click to edit Master text styles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59893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50BF203-DABD-246B-96CB-485DA6FF9A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108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0BF203-DABD-246B-96CB-485DA6FF9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2817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508477"/>
            <a:ext cx="5158798" cy="666305"/>
          </a:xfrm>
        </p:spPr>
        <p:txBody>
          <a:bodyPr vert="horz" anchor="t" anchorCtr="0"/>
          <a:lstStyle>
            <a:lvl1pPr rtl="0"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noProof="0" dirty="0"/>
              <a:t>Click to add title</a:t>
            </a:r>
            <a:endParaRPr lang="da-DK"/>
          </a:p>
        </p:txBody>
      </p:sp>
      <p:sp>
        <p:nvSpPr>
          <p:cNvPr id="12" name="Picture Placeholder 15">
            <a:extLst>
              <a:ext uri="{FF2B5EF4-FFF2-40B4-BE49-F238E27FC236}">
                <a16:creationId xmlns:a16="http://schemas.microsoft.com/office/drawing/2014/main" id="{5B6CA26F-85F2-499A-B74D-DD2F521CB4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13" name="Floating Logo">
            <a:extLst>
              <a:ext uri="{FF2B5EF4-FFF2-40B4-BE49-F238E27FC236}">
                <a16:creationId xmlns:a16="http://schemas.microsoft.com/office/drawing/2014/main" id="{91F06DD3-D9A5-4CE3-BB43-421E4BC11D4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71E1CD4-D769-435E-BD70-1F92A02512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3" y="1646555"/>
            <a:ext cx="5184000" cy="4251008"/>
          </a:xfrm>
        </p:spPr>
        <p:txBody>
          <a:bodyPr/>
          <a:lstStyle>
            <a:lvl1pPr marL="360000" indent="-360000" rtl="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 rtl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da-DK" dirty="0"/>
              <a:t>Click to add topic, use red </a:t>
            </a:r>
            <a:r>
              <a:rPr lang="da-DK" dirty="0" err="1"/>
              <a:t>color</a:t>
            </a:r>
            <a:r>
              <a:rPr lang="da-DK" dirty="0"/>
              <a:t> to highlight text, use Indent level button to add sub-level style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79717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00000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31AEB7-93EC-8526-D413-011BB6B1BD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66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31AEB7-93EC-8526-D413-011BB6B1BD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2817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508477"/>
            <a:ext cx="10728326" cy="666305"/>
          </a:xfrm>
        </p:spPr>
        <p:txBody>
          <a:bodyPr vert="horz" anchor="t" anchorCtr="0"/>
          <a:lstStyle>
            <a:lvl1pPr rtl="0"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noProof="0" dirty="0"/>
              <a:t>Click to add title</a:t>
            </a:r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E7C833-004A-48F3-96C6-37AF970C1C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2" y="1646555"/>
            <a:ext cx="10728327" cy="4251008"/>
          </a:xfrm>
        </p:spPr>
        <p:txBody>
          <a:bodyPr numCol="2" spcCol="360000"/>
          <a:lstStyle>
            <a:lvl1pPr marL="360000" indent="-360000" rtl="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 rtl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da-DK" dirty="0"/>
              <a:t>Click to add topic, use red </a:t>
            </a:r>
            <a:r>
              <a:rPr lang="da-DK" dirty="0" err="1"/>
              <a:t>color</a:t>
            </a:r>
            <a:r>
              <a:rPr lang="da-DK" dirty="0"/>
              <a:t> to highlight text, use Indent level button to add sub-level style</a:t>
            </a:r>
            <a:endParaRPr lang="da-DK"/>
          </a:p>
          <a:p>
            <a:pPr lvl="1"/>
            <a:r>
              <a:rPr lang="da-DK" dirty="0"/>
              <a:t>Second level</a:t>
            </a:r>
            <a:endParaRPr lang="da-DK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" name="Logo red">
            <a:extLst>
              <a:ext uri="{FF2B5EF4-FFF2-40B4-BE49-F238E27FC236}">
                <a16:creationId xmlns:a16="http://schemas.microsoft.com/office/drawing/2014/main" id="{3DC4FE27-9A88-4EA3-9CFA-70AE00D06FC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308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pt_red_footer_solid.png"/>
          <p:cNvPicPr>
            <a:picLocks noChangeAspect="1"/>
          </p:cNvPicPr>
          <p:nvPr userDrawn="1"/>
        </p:nvPicPr>
        <p:blipFill rotWithShape="1">
          <a:blip r:embed="rId2"/>
          <a:srcRect r="15151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4834530"/>
            <a:ext cx="10959356" cy="428600"/>
          </a:xfrm>
        </p:spPr>
        <p:txBody>
          <a:bodyPr anchor="b">
            <a:normAutofit/>
          </a:bodyPr>
          <a:lstStyle>
            <a:lvl1pPr algn="l">
              <a:defRPr sz="2400" b="1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23392" y="612775"/>
            <a:ext cx="10945216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3392" y="5401268"/>
            <a:ext cx="10945215" cy="59769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12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94FA303-1671-DCA5-968E-4B3BA991E0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066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4FA303-1671-DCA5-968E-4B3BA991E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ackground white">
            <a:extLst>
              <a:ext uri="{FF2B5EF4-FFF2-40B4-BE49-F238E27FC236}">
                <a16:creationId xmlns:a16="http://schemas.microsoft.com/office/drawing/2014/main" id="{42F67D6C-E9B5-402D-9EE1-DD1BADE1C5C6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66212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08E4D55-DED0-5F2C-C523-3E89CEA262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754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8E4D55-DED0-5F2C-C523-3E89CEA26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38292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7116DEB-4E96-66D2-5FEA-491C7155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65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116DEB-4E96-66D2-5FEA-491C7155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030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6D5271D-2DBF-8715-3C46-2EA7CC63E0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8754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D5271D-2DBF-8715-3C46-2EA7CC63E0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68157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DB88EB-1396-191D-1F41-76B1695C4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89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DB88EB-1396-191D-1F41-76B1695C4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1428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723C1A9-FD05-9D0C-3278-1BEB979F39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192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23C1A9-FD05-9D0C-3278-1BEB979F39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 rtl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Click to add text, use Indent level button to add sub-level style</a:t>
            </a:r>
            <a:endParaRPr lang="da-DK"/>
          </a:p>
          <a:p>
            <a:pPr lvl="1"/>
            <a:r>
              <a:rPr lang="da-DK" dirty="0"/>
              <a:t>Second level (Source / Text)</a:t>
            </a:r>
            <a:endParaRPr lang="da-D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 rtl="0">
              <a:buNone/>
              <a:defRPr sz="1600"/>
            </a:lvl1pPr>
          </a:lstStyle>
          <a:p>
            <a:r>
              <a:rPr lang="da-DK" dirty="0"/>
              <a:t>Click here to insert image via Templafy Images</a:t>
            </a:r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71217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0830A2E-323E-D931-25C4-D1B7E674F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830A2E-323E-D931-25C4-D1B7E674F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ackground">
            <a:extLst>
              <a:ext uri="{FF2B5EF4-FFF2-40B4-BE49-F238E27FC236}">
                <a16:creationId xmlns:a16="http://schemas.microsoft.com/office/drawing/2014/main" id="{FF23027A-D5A2-44D6-8AA8-11EEB9138562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372F34-070F-477A-9837-DDF7DA4A17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8" y="0"/>
            <a:ext cx="11487690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Click to add text, </a:t>
            </a:r>
            <a:r>
              <a:rPr lang="da-DK" noProof="0" dirty="0"/>
              <a:t>use Indent level button to add sub-level style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85980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E35D1B7-79A8-0DC7-EDE0-710D80E987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568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35D1B7-79A8-0DC7-EDE0-710D80E987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278143A-C928-452D-8854-FD50B1D74B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514" y="-13159"/>
            <a:ext cx="11627077" cy="62951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Click to add text, </a:t>
            </a:r>
            <a:r>
              <a:rPr lang="da-DK" noProof="0" dirty="0"/>
              <a:t>use Indent level button to add sub-level style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66305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56069D5-6C3F-71EC-5C87-B1F67F653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71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6069D5-6C3F-71EC-5C87-B1F67F653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926335D-C5A6-4E4F-AFDE-88688F759A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7" y="0"/>
            <a:ext cx="11521875" cy="6244735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Text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9637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7DB34AC-4BB8-8914-371D-703C0AB78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98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DB34AC-4BB8-8914-371D-703C0AB780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A8488AF6-DF8B-49C5-A110-5D378AC90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68" y="0"/>
            <a:ext cx="11499722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 rtl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Text</a:t>
            </a:r>
            <a:endParaRPr lang="da-DK"/>
          </a:p>
          <a:p>
            <a:pPr lvl="1"/>
            <a:r>
              <a:rPr lang="da-DK" noProof="0" dirty="0"/>
              <a:t>Second level (Source / text)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 rtl="0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sert icon from Elements</a:t>
            </a:r>
            <a:endParaRPr lang="da-DK"/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1457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9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57.xml"/><Relationship Id="rId42" Type="http://schemas.openxmlformats.org/officeDocument/2006/relationships/slideLayout" Target="../slideLayouts/slideLayout65.xml"/><Relationship Id="rId47" Type="http://schemas.openxmlformats.org/officeDocument/2006/relationships/image" Target="../media/image4.emf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slideLayout" Target="../slideLayouts/slideLayout60.xml"/><Relationship Id="rId40" Type="http://schemas.openxmlformats.org/officeDocument/2006/relationships/slideLayout" Target="../slideLayouts/slideLayout63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slideLayout" Target="../slideLayouts/slideLayout59.xml"/><Relationship Id="rId49" Type="http://schemas.openxmlformats.org/officeDocument/2006/relationships/image" Target="../media/image6.emf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slideLayout" Target="../slideLayouts/slideLayout58.xml"/><Relationship Id="rId43" Type="http://schemas.openxmlformats.org/officeDocument/2006/relationships/theme" Target="../theme/theme3.xml"/><Relationship Id="rId48" Type="http://schemas.openxmlformats.org/officeDocument/2006/relationships/image" Target="../media/image5.png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slideLayout" Target="../slideLayouts/slideLayout61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43.xml"/><Relationship Id="rId41" Type="http://schemas.openxmlformats.org/officeDocument/2006/relationships/slideLayout" Target="../slideLayouts/slideLayout64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9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98.xml"/><Relationship Id="rId34" Type="http://schemas.openxmlformats.org/officeDocument/2006/relationships/slideLayout" Target="../slideLayouts/slideLayout111.xml"/><Relationship Id="rId42" Type="http://schemas.openxmlformats.org/officeDocument/2006/relationships/slideLayout" Target="../slideLayouts/slideLayout119.xml"/><Relationship Id="rId47" Type="http://schemas.openxmlformats.org/officeDocument/2006/relationships/image" Target="../media/image4.emf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14.xml"/><Relationship Id="rId40" Type="http://schemas.openxmlformats.org/officeDocument/2006/relationships/slideLayout" Target="../slideLayouts/slideLayout117.xml"/><Relationship Id="rId45" Type="http://schemas.openxmlformats.org/officeDocument/2006/relationships/tags" Target="../tags/tag46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36" Type="http://schemas.openxmlformats.org/officeDocument/2006/relationships/slideLayout" Target="../slideLayouts/slideLayout113.xml"/><Relationship Id="rId49" Type="http://schemas.openxmlformats.org/officeDocument/2006/relationships/image" Target="../media/image6.emf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08.xml"/><Relationship Id="rId44" Type="http://schemas.openxmlformats.org/officeDocument/2006/relationships/tags" Target="../tags/tag45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Relationship Id="rId35" Type="http://schemas.openxmlformats.org/officeDocument/2006/relationships/slideLayout" Target="../slideLayouts/slideLayout112.xml"/><Relationship Id="rId43" Type="http://schemas.openxmlformats.org/officeDocument/2006/relationships/theme" Target="../theme/theme5.xml"/><Relationship Id="rId48" Type="http://schemas.openxmlformats.org/officeDocument/2006/relationships/image" Target="../media/image5.png"/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slideLayout" Target="../slideLayouts/slideLayout110.xml"/><Relationship Id="rId38" Type="http://schemas.openxmlformats.org/officeDocument/2006/relationships/slideLayout" Target="../slideLayouts/slideLayout115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97.xml"/><Relationship Id="rId41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26" Type="http://schemas.openxmlformats.org/officeDocument/2006/relationships/slideLayout" Target="../slideLayouts/slideLayout145.xml"/><Relationship Id="rId39" Type="http://schemas.openxmlformats.org/officeDocument/2006/relationships/slideLayout" Target="../slideLayouts/slideLayout158.xml"/><Relationship Id="rId21" Type="http://schemas.openxmlformats.org/officeDocument/2006/relationships/slideLayout" Target="../slideLayouts/slideLayout140.xml"/><Relationship Id="rId34" Type="http://schemas.openxmlformats.org/officeDocument/2006/relationships/slideLayout" Target="../slideLayouts/slideLayout153.xml"/><Relationship Id="rId42" Type="http://schemas.openxmlformats.org/officeDocument/2006/relationships/slideLayout" Target="../slideLayouts/slideLayout161.xml"/><Relationship Id="rId47" Type="http://schemas.openxmlformats.org/officeDocument/2006/relationships/oleObject" Target="../embeddings/oleObject1.bin"/><Relationship Id="rId50" Type="http://schemas.openxmlformats.org/officeDocument/2006/relationships/image" Target="../media/image6.emf"/><Relationship Id="rId7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9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30.xml"/><Relationship Id="rId24" Type="http://schemas.openxmlformats.org/officeDocument/2006/relationships/slideLayout" Target="../slideLayouts/slideLayout143.xml"/><Relationship Id="rId32" Type="http://schemas.openxmlformats.org/officeDocument/2006/relationships/slideLayout" Target="../slideLayouts/slideLayout151.xml"/><Relationship Id="rId37" Type="http://schemas.openxmlformats.org/officeDocument/2006/relationships/slideLayout" Target="../slideLayouts/slideLayout156.xml"/><Relationship Id="rId40" Type="http://schemas.openxmlformats.org/officeDocument/2006/relationships/slideLayout" Target="../slideLayouts/slideLayout159.xml"/><Relationship Id="rId45" Type="http://schemas.openxmlformats.org/officeDocument/2006/relationships/tags" Target="../tags/tag89.xml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23" Type="http://schemas.openxmlformats.org/officeDocument/2006/relationships/slideLayout" Target="../slideLayouts/slideLayout142.xml"/><Relationship Id="rId28" Type="http://schemas.openxmlformats.org/officeDocument/2006/relationships/slideLayout" Target="../slideLayouts/slideLayout147.xml"/><Relationship Id="rId36" Type="http://schemas.openxmlformats.org/officeDocument/2006/relationships/slideLayout" Target="../slideLayouts/slideLayout155.xml"/><Relationship Id="rId49" Type="http://schemas.openxmlformats.org/officeDocument/2006/relationships/image" Target="../media/image5.png"/><Relationship Id="rId10" Type="http://schemas.openxmlformats.org/officeDocument/2006/relationships/slideLayout" Target="../slideLayouts/slideLayout129.xml"/><Relationship Id="rId19" Type="http://schemas.openxmlformats.org/officeDocument/2006/relationships/slideLayout" Target="../slideLayouts/slideLayout138.xml"/><Relationship Id="rId31" Type="http://schemas.openxmlformats.org/officeDocument/2006/relationships/slideLayout" Target="../slideLayouts/slideLayout150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Relationship Id="rId22" Type="http://schemas.openxmlformats.org/officeDocument/2006/relationships/slideLayout" Target="../slideLayouts/slideLayout141.xml"/><Relationship Id="rId27" Type="http://schemas.openxmlformats.org/officeDocument/2006/relationships/slideLayout" Target="../slideLayouts/slideLayout146.xml"/><Relationship Id="rId30" Type="http://schemas.openxmlformats.org/officeDocument/2006/relationships/slideLayout" Target="../slideLayouts/slideLayout149.xml"/><Relationship Id="rId35" Type="http://schemas.openxmlformats.org/officeDocument/2006/relationships/slideLayout" Target="../slideLayouts/slideLayout154.xml"/><Relationship Id="rId43" Type="http://schemas.openxmlformats.org/officeDocument/2006/relationships/slideLayout" Target="../slideLayouts/slideLayout162.xml"/><Relationship Id="rId48" Type="http://schemas.openxmlformats.org/officeDocument/2006/relationships/image" Target="../media/image4.emf"/><Relationship Id="rId8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5" Type="http://schemas.openxmlformats.org/officeDocument/2006/relationships/slideLayout" Target="../slideLayouts/slideLayout144.xml"/><Relationship Id="rId33" Type="http://schemas.openxmlformats.org/officeDocument/2006/relationships/slideLayout" Target="../slideLayouts/slideLayout152.xml"/><Relationship Id="rId38" Type="http://schemas.openxmlformats.org/officeDocument/2006/relationships/slideLayout" Target="../slideLayouts/slideLayout157.xml"/><Relationship Id="rId46" Type="http://schemas.openxmlformats.org/officeDocument/2006/relationships/tags" Target="../tags/tag90.xml"/><Relationship Id="rId20" Type="http://schemas.openxmlformats.org/officeDocument/2006/relationships/slideLayout" Target="../slideLayouts/slideLayout139.xml"/><Relationship Id="rId41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D31245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  <a:p>
            <a:pPr lvl="0"/>
            <a:endParaRPr lang="da-DK" dirty="0"/>
          </a:p>
        </p:txBody>
      </p:sp>
      <p:pic>
        <p:nvPicPr>
          <p:cNvPr id="8" name="Picture 2" descr="ppt_red_footer_solid.png"/>
          <p:cNvPicPr>
            <a:picLocks noChangeAspect="1"/>
          </p:cNvPicPr>
          <p:nvPr userDrawn="1"/>
        </p:nvPicPr>
        <p:blipFill rotWithShape="1">
          <a:blip r:embed="rId13"/>
          <a:srcRect r="15151"/>
          <a:stretch/>
        </p:blipFill>
        <p:spPr>
          <a:xfrm>
            <a:off x="406" y="6035096"/>
            <a:ext cx="12191594" cy="822905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6198642"/>
            <a:ext cx="1463245" cy="557615"/>
          </a:xfrm>
          <a:prstGeom prst="rect">
            <a:avLst/>
          </a:prstGeom>
        </p:spPr>
      </p:pic>
      <p:sp>
        <p:nvSpPr>
          <p:cNvPr id="11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57684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D22F51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4572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Courier New" panose="02070309020205020404" pitchFamily="49" charset="0"/>
        <a:buChar char="-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E2576-DF23-47DF-9AF1-02304B85C9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285047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16" imgH="216" progId="TCLayout.ActiveDocument.1">
                  <p:embed/>
                </p:oleObj>
              </mc:Choice>
              <mc:Fallback>
                <p:oleObj name="think-cell Slide" r:id="rId46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E2576-DF23-47DF-9AF1-02304B85C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99713C-685B-401E-9EFB-E85B19A82A3F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a-DK" sz="2700" b="1" i="0" baseline="0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Background shadow" descr="Et nærbillede af et logo&#10;&#10;Beskrivelse genereres automatisk">
            <a:extLst>
              <a:ext uri="{FF2B5EF4-FFF2-40B4-BE49-F238E27FC236}">
                <a16:creationId xmlns:a16="http://schemas.microsoft.com/office/drawing/2014/main" id="{BADC3658-FFE6-4239-9046-253361BE2C8E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pic>
        <p:nvPicPr>
          <p:cNvPr id="12" name="Logo red">
            <a:extLst>
              <a:ext uri="{FF2B5EF4-FFF2-40B4-BE49-F238E27FC236}">
                <a16:creationId xmlns:a16="http://schemas.microsoft.com/office/drawing/2014/main" id="{B2196BCC-3AFC-4D08-865F-46116BE1BB9C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675" y="1916113"/>
            <a:ext cx="10728000" cy="3981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" noProof="0" dirty="0"/>
              <a:t>Niveau 1</a:t>
            </a:r>
            <a:endParaRPr lang="da-DK"/>
          </a:p>
          <a:p>
            <a:pPr lvl="1"/>
            <a:r>
              <a:rPr lang="da" noProof="0" dirty="0"/>
              <a:t>Niveau 2</a:t>
            </a:r>
            <a:endParaRPr lang="da-DK"/>
          </a:p>
          <a:p>
            <a:pPr lvl="2"/>
            <a:r>
              <a:rPr lang="da" noProof="0" dirty="0"/>
              <a:t>Niveau 3</a:t>
            </a:r>
            <a:endParaRPr lang="da-DK"/>
          </a:p>
          <a:p>
            <a:pPr lvl="3"/>
            <a:r>
              <a:rPr lang="da" noProof="0" dirty="0"/>
              <a:t>Niveau 4, Overskrift</a:t>
            </a:r>
            <a:endParaRPr lang="da-DK"/>
          </a:p>
          <a:p>
            <a:pPr lvl="4"/>
            <a:r>
              <a:rPr lang="da" noProof="0" dirty="0"/>
              <a:t>Niveau 5, Krop</a:t>
            </a:r>
            <a:endParaRPr lang="da-DK"/>
          </a:p>
          <a:p>
            <a:pPr lvl="5"/>
            <a:r>
              <a:rPr lang="da" noProof="0" dirty="0"/>
              <a:t>Niveau 6</a:t>
            </a:r>
            <a:endParaRPr lang="da-DK"/>
          </a:p>
          <a:p>
            <a:pPr lvl="6"/>
            <a:r>
              <a:rPr lang="da" noProof="0" dirty="0"/>
              <a:t>Niveau 7, lille overskrift</a:t>
            </a:r>
            <a:endParaRPr lang="da-DK"/>
          </a:p>
          <a:p>
            <a:pPr lvl="7"/>
            <a:r>
              <a:rPr lang="da" noProof="0" dirty="0"/>
              <a:t>Niveau 8, Lille krop</a:t>
            </a:r>
            <a:endParaRPr lang="da-DK"/>
          </a:p>
          <a:p>
            <a:pPr lvl="8"/>
            <a:r>
              <a:rPr lang="da" noProof="0" dirty="0"/>
              <a:t>Niveau 9, Infografik</a:t>
            </a:r>
            <a:endParaRPr lang="da-DK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683763"/>
            <a:ext cx="1072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" noProof="0" dirty="0"/>
              <a:t>Klik her for at redigere typografien i masteren</a:t>
            </a:r>
            <a:endParaRPr lang="da-DK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A7595FF3-D3E1-494C-8786-F161DDDC59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4514" y="6858000"/>
            <a:ext cx="45719" cy="4571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FA31F1C-497E-4470-8FCF-70E627F77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4674" y="6005475"/>
            <a:ext cx="8905876" cy="176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rgbClr val="AEAFAF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rtl="0">
              <a:defRPr sz="800">
                <a:solidFill>
                  <a:srgbClr val="AEAFAF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89159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  <p:sldLayoutId id="2147483705" r:id="rId32"/>
    <p:sldLayoutId id="2147483706" r:id="rId33"/>
    <p:sldLayoutId id="2147483707" r:id="rId34"/>
    <p:sldLayoutId id="2147483708" r:id="rId35"/>
    <p:sldLayoutId id="2147483709" r:id="rId36"/>
    <p:sldLayoutId id="2147483710" r:id="rId37"/>
    <p:sldLayoutId id="2147483711" r:id="rId38"/>
    <p:sldLayoutId id="2147483712" r:id="rId39"/>
    <p:sldLayoutId id="2147483713" r:id="rId40"/>
    <p:sldLayoutId id="2147483714" r:id="rId41"/>
    <p:sldLayoutId id="2147483715" r:id="rId42"/>
  </p:sldLayoutIdLst>
  <p:hf hdr="0"/>
  <p:txStyles>
    <p:titleStyle>
      <a:lvl1pPr algn="l" defTabSz="914400" rtl="0" eaLnBrk="1" latinLnBrk="0" hangingPunct="1">
        <a:lnSpc>
          <a:spcPct val="97000"/>
        </a:lnSpc>
        <a:spcBef>
          <a:spcPct val="0"/>
        </a:spcBef>
        <a:buNone/>
        <a:defRPr sz="2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baseline="0">
          <a:solidFill>
            <a:schemeClr val="tx1"/>
          </a:solidFill>
          <a:latin typeface="Arial Black" panose="020B0A0402010202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14">
          <p15:clr>
            <a:srgbClr val="F26B43"/>
          </p15:clr>
        </p15:guide>
        <p15:guide id="5" orient="horz" pos="3715">
          <p15:clr>
            <a:srgbClr val="F26B43"/>
          </p15:clr>
        </p15:guide>
        <p15:guide id="6" orient="horz" pos="1207">
          <p15:clr>
            <a:srgbClr val="F26B43"/>
          </p15:clr>
        </p15:guide>
        <p15:guide id="7" pos="362">
          <p15:clr>
            <a:srgbClr val="000000"/>
          </p15:clr>
        </p15:guide>
        <p15:guide id="8" pos="7315">
          <p15:clr>
            <a:srgbClr val="000000"/>
          </p15:clr>
        </p15:guide>
        <p15:guide id="9" pos="7120">
          <p15:clr>
            <a:srgbClr val="000000"/>
          </p15:clr>
        </p15:guide>
        <p15:guide id="10" pos="6447">
          <p15:clr>
            <a:srgbClr val="00000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" dirty="0"/>
              <a:t>Klik for at redigere mastertiteltypografi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" dirty="0"/>
              <a:t>Klik for at redigere masterteksttypografier</a:t>
            </a:r>
          </a:p>
          <a:p>
            <a:pPr lvl="1"/>
            <a:r>
              <a:rPr lang="da" dirty="0"/>
              <a:t>Andet niveau</a:t>
            </a:r>
          </a:p>
          <a:p>
            <a:pPr lvl="2"/>
            <a:r>
              <a:rPr lang="da" dirty="0"/>
              <a:t>Tredje niveau</a:t>
            </a:r>
          </a:p>
          <a:p>
            <a:pPr lvl="3"/>
            <a:r>
              <a:rPr lang="da" dirty="0"/>
              <a:t>Fjerde niveau</a:t>
            </a:r>
          </a:p>
          <a:p>
            <a:pPr lvl="4"/>
            <a:r>
              <a:rPr lang="da" dirty="0"/>
              <a:t>Femte niveau</a:t>
            </a:r>
            <a:endParaRPr lang="en-US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09600" y="6356350"/>
            <a:ext cx="1097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E6D1AC"/>
                </a:solidFill>
              </a:defRPr>
            </a:lvl1pPr>
          </a:lstStyle>
          <a:p>
            <a:fld id="{77D8EFF8-9AFB-494C-BA2F-BDAFDF4420FE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88510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D31245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E2576-DF23-47DF-9AF1-02304B85C9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285047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16" imgH="216" progId="TCLayout.ActiveDocument.1">
                  <p:embed/>
                </p:oleObj>
              </mc:Choice>
              <mc:Fallback>
                <p:oleObj name="think-cell Slide" r:id="rId46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E2576-DF23-47DF-9AF1-02304B85C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99713C-685B-401E-9EFB-E85B19A82A3F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a-DK" sz="2700" b="1" i="0" baseline="0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Background shadow" descr="A close up of a logo&#10;&#10;Description automatically generated">
            <a:extLst>
              <a:ext uri="{FF2B5EF4-FFF2-40B4-BE49-F238E27FC236}">
                <a16:creationId xmlns:a16="http://schemas.microsoft.com/office/drawing/2014/main" id="{BADC3658-FFE6-4239-9046-253361BE2C8E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pic>
        <p:nvPicPr>
          <p:cNvPr id="12" name="Logo red">
            <a:extLst>
              <a:ext uri="{FF2B5EF4-FFF2-40B4-BE49-F238E27FC236}">
                <a16:creationId xmlns:a16="http://schemas.microsoft.com/office/drawing/2014/main" id="{B2196BCC-3AFC-4D08-865F-46116BE1BB9C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675" y="1916113"/>
            <a:ext cx="10728000" cy="3981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Level 1</a:t>
            </a:r>
            <a:endParaRPr lang="da-DK"/>
          </a:p>
          <a:p>
            <a:pPr lvl="1"/>
            <a:r>
              <a:rPr lang="da-DK" noProof="0" dirty="0"/>
              <a:t>Level 2</a:t>
            </a:r>
            <a:endParaRPr lang="da-DK"/>
          </a:p>
          <a:p>
            <a:pPr lvl="2"/>
            <a:r>
              <a:rPr lang="da-DK" noProof="0" dirty="0"/>
              <a:t>Level 3</a:t>
            </a:r>
            <a:endParaRPr lang="da-DK"/>
          </a:p>
          <a:p>
            <a:pPr lvl="3"/>
            <a:r>
              <a:rPr lang="da-DK" noProof="0" dirty="0"/>
              <a:t>Level 4, Header</a:t>
            </a:r>
            <a:endParaRPr lang="da-DK"/>
          </a:p>
          <a:p>
            <a:pPr lvl="4"/>
            <a:r>
              <a:rPr lang="da-DK" noProof="0" dirty="0"/>
              <a:t>Level 5, Body</a:t>
            </a:r>
            <a:endParaRPr lang="da-DK"/>
          </a:p>
          <a:p>
            <a:pPr lvl="5"/>
            <a:r>
              <a:rPr lang="da-DK" noProof="0" dirty="0"/>
              <a:t>Level 6</a:t>
            </a:r>
            <a:endParaRPr lang="da-DK"/>
          </a:p>
          <a:p>
            <a:pPr lvl="6"/>
            <a:r>
              <a:rPr lang="da-DK" noProof="0" dirty="0"/>
              <a:t>Level 7, Small Header</a:t>
            </a:r>
            <a:endParaRPr lang="da-DK"/>
          </a:p>
          <a:p>
            <a:pPr lvl="7"/>
            <a:r>
              <a:rPr lang="da-DK" noProof="0" dirty="0"/>
              <a:t>Level 8, Small Body</a:t>
            </a:r>
            <a:endParaRPr lang="da-DK"/>
          </a:p>
          <a:p>
            <a:pPr lvl="8"/>
            <a:r>
              <a:rPr lang="da-DK" noProof="0" dirty="0"/>
              <a:t>Level 9, Infographic</a:t>
            </a:r>
            <a:endParaRPr lang="da-DK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683763"/>
            <a:ext cx="1072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 noProof="0" dirty="0"/>
              <a:t>Click here to edit the typography in the master</a:t>
            </a:r>
            <a:endParaRPr lang="da-DK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A7595FF3-D3E1-494C-8786-F161DDDC59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4514" y="6858000"/>
            <a:ext cx="45719" cy="4571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FA31F1C-497E-4470-8FCF-70E627F77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4674" y="6005475"/>
            <a:ext cx="8905876" cy="176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rgbClr val="AEAFAF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rtl="0">
              <a:defRPr sz="800">
                <a:solidFill>
                  <a:srgbClr val="AEAFAF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2177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  <p:sldLayoutId id="2147483782" r:id="rId37"/>
    <p:sldLayoutId id="2147483783" r:id="rId38"/>
    <p:sldLayoutId id="2147483784" r:id="rId39"/>
    <p:sldLayoutId id="2147483785" r:id="rId40"/>
    <p:sldLayoutId id="2147483786" r:id="rId41"/>
    <p:sldLayoutId id="2147483787" r:id="rId42"/>
  </p:sldLayoutIdLst>
  <p:hf hdr="0"/>
  <p:txStyles>
    <p:titleStyle>
      <a:lvl1pPr algn="l" defTabSz="914400" rtl="0" eaLnBrk="1" latinLnBrk="0" hangingPunct="1">
        <a:lnSpc>
          <a:spcPct val="97000"/>
        </a:lnSpc>
        <a:spcBef>
          <a:spcPct val="0"/>
        </a:spcBef>
        <a:buNone/>
        <a:defRPr sz="2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baseline="0">
          <a:solidFill>
            <a:schemeClr val="tx1"/>
          </a:solidFill>
          <a:latin typeface="Arial Black" panose="020B0A0402010202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14">
          <p15:clr>
            <a:srgbClr val="F26B43"/>
          </p15:clr>
        </p15:guide>
        <p15:guide id="5" orient="horz" pos="3715">
          <p15:clr>
            <a:srgbClr val="F26B43"/>
          </p15:clr>
        </p15:guide>
        <p15:guide id="6" orient="horz" pos="1207">
          <p15:clr>
            <a:srgbClr val="F26B43"/>
          </p15:clr>
        </p15:guide>
        <p15:guide id="7" pos="362">
          <p15:clr>
            <a:srgbClr val="000000"/>
          </p15:clr>
        </p15:guide>
        <p15:guide id="8" pos="7315">
          <p15:clr>
            <a:srgbClr val="000000"/>
          </p15:clr>
        </p15:guide>
        <p15:guide id="9" pos="7120">
          <p15:clr>
            <a:srgbClr val="000000"/>
          </p15:clr>
        </p15:guide>
        <p15:guide id="10" pos="6447">
          <p15:clr>
            <a:srgbClr val="00000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E2576-DF23-47DF-9AF1-02304B85C9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285047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216" imgH="216" progId="TCLayout.ActiveDocument.1">
                  <p:embed/>
                </p:oleObj>
              </mc:Choice>
              <mc:Fallback>
                <p:oleObj name="think-cell Slide" r:id="rId47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E2576-DF23-47DF-9AF1-02304B85C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99713C-685B-401E-9EFB-E85B19A82A3F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a-DK" sz="2700" b="1" i="0" baseline="0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Background shadow" descr="A close up of a logo&#10;&#10;Description automatically generated">
            <a:extLst>
              <a:ext uri="{FF2B5EF4-FFF2-40B4-BE49-F238E27FC236}">
                <a16:creationId xmlns:a16="http://schemas.microsoft.com/office/drawing/2014/main" id="{BADC3658-FFE6-4239-9046-253361BE2C8E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pic>
        <p:nvPicPr>
          <p:cNvPr id="12" name="Logo red">
            <a:extLst>
              <a:ext uri="{FF2B5EF4-FFF2-40B4-BE49-F238E27FC236}">
                <a16:creationId xmlns:a16="http://schemas.microsoft.com/office/drawing/2014/main" id="{B2196BCC-3AFC-4D08-865F-46116BE1BB9C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675" y="1916113"/>
            <a:ext cx="10728000" cy="3981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Level 1</a:t>
            </a:r>
            <a:endParaRPr lang="da-DK"/>
          </a:p>
          <a:p>
            <a:pPr lvl="1"/>
            <a:r>
              <a:rPr lang="da-DK" noProof="0" dirty="0"/>
              <a:t>Level 2</a:t>
            </a:r>
            <a:endParaRPr lang="da-DK"/>
          </a:p>
          <a:p>
            <a:pPr lvl="2"/>
            <a:r>
              <a:rPr lang="da-DK" noProof="0" dirty="0"/>
              <a:t>Level 3</a:t>
            </a:r>
            <a:endParaRPr lang="da-DK"/>
          </a:p>
          <a:p>
            <a:pPr lvl="3"/>
            <a:r>
              <a:rPr lang="da-DK" noProof="0" dirty="0"/>
              <a:t>Level 4, Header</a:t>
            </a:r>
            <a:endParaRPr lang="da-DK"/>
          </a:p>
          <a:p>
            <a:pPr lvl="4"/>
            <a:r>
              <a:rPr lang="da-DK" noProof="0" dirty="0"/>
              <a:t>Level 5, Body</a:t>
            </a:r>
            <a:endParaRPr lang="da-DK"/>
          </a:p>
          <a:p>
            <a:pPr lvl="5"/>
            <a:r>
              <a:rPr lang="da-DK" noProof="0" dirty="0"/>
              <a:t>Level 6</a:t>
            </a:r>
            <a:endParaRPr lang="da-DK"/>
          </a:p>
          <a:p>
            <a:pPr lvl="6"/>
            <a:r>
              <a:rPr lang="da-DK" noProof="0" dirty="0"/>
              <a:t>Level 7, Small Header</a:t>
            </a:r>
            <a:endParaRPr lang="da-DK"/>
          </a:p>
          <a:p>
            <a:pPr lvl="7"/>
            <a:r>
              <a:rPr lang="da-DK" noProof="0" dirty="0"/>
              <a:t>Level 8, Small Body</a:t>
            </a:r>
            <a:endParaRPr lang="da-DK"/>
          </a:p>
          <a:p>
            <a:pPr lvl="8"/>
            <a:r>
              <a:rPr lang="da-DK" noProof="0" dirty="0"/>
              <a:t>Level 9, Infographic</a:t>
            </a:r>
            <a:endParaRPr lang="da-DK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683763"/>
            <a:ext cx="1072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 noProof="0" dirty="0"/>
              <a:t>Click here to edit the typography in the master</a:t>
            </a:r>
            <a:endParaRPr lang="da-DK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A7595FF3-D3E1-494C-8786-F161DDDC59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4514" y="6858000"/>
            <a:ext cx="45719" cy="4571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FA31F1C-497E-4470-8FCF-70E627F77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4674" y="6005475"/>
            <a:ext cx="8905876" cy="176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rgbClr val="AEAFAF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rtl="0">
              <a:defRPr sz="800">
                <a:solidFill>
                  <a:srgbClr val="AEAFAF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2177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  <p:sldLayoutId id="2147483817" r:id="rId28"/>
    <p:sldLayoutId id="2147483818" r:id="rId29"/>
    <p:sldLayoutId id="2147483819" r:id="rId30"/>
    <p:sldLayoutId id="2147483820" r:id="rId31"/>
    <p:sldLayoutId id="2147483821" r:id="rId32"/>
    <p:sldLayoutId id="2147483822" r:id="rId33"/>
    <p:sldLayoutId id="2147483823" r:id="rId34"/>
    <p:sldLayoutId id="2147483824" r:id="rId35"/>
    <p:sldLayoutId id="2147483825" r:id="rId36"/>
    <p:sldLayoutId id="2147483826" r:id="rId37"/>
    <p:sldLayoutId id="2147483827" r:id="rId38"/>
    <p:sldLayoutId id="2147483828" r:id="rId39"/>
    <p:sldLayoutId id="2147483829" r:id="rId40"/>
    <p:sldLayoutId id="2147483830" r:id="rId41"/>
    <p:sldLayoutId id="2147483831" r:id="rId42"/>
    <p:sldLayoutId id="2147483832" r:id="rId43"/>
  </p:sldLayoutIdLst>
  <p:hf hdr="0"/>
  <p:txStyles>
    <p:titleStyle>
      <a:lvl1pPr algn="l" defTabSz="914400" rtl="0" eaLnBrk="1" latinLnBrk="0" hangingPunct="1">
        <a:lnSpc>
          <a:spcPct val="97000"/>
        </a:lnSpc>
        <a:spcBef>
          <a:spcPct val="0"/>
        </a:spcBef>
        <a:buNone/>
        <a:defRPr sz="2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baseline="0">
          <a:solidFill>
            <a:schemeClr val="tx1"/>
          </a:solidFill>
          <a:latin typeface="Arial Black" panose="020B0A0402010202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14">
          <p15:clr>
            <a:srgbClr val="F26B43"/>
          </p15:clr>
        </p15:guide>
        <p15:guide id="5" orient="horz" pos="3715">
          <p15:clr>
            <a:srgbClr val="F26B43"/>
          </p15:clr>
        </p15:guide>
        <p15:guide id="6" orient="horz" pos="1207">
          <p15:clr>
            <a:srgbClr val="F26B43"/>
          </p15:clr>
        </p15:guide>
        <p15:guide id="7" pos="362">
          <p15:clr>
            <a:srgbClr val="000000"/>
          </p15:clr>
        </p15:guide>
        <p15:guide id="8" pos="7315">
          <p15:clr>
            <a:srgbClr val="000000"/>
          </p15:clr>
        </p15:guide>
        <p15:guide id="9" pos="7120">
          <p15:clr>
            <a:srgbClr val="000000"/>
          </p15:clr>
        </p15:guide>
        <p15:guide id="10" pos="6447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focus-advokater.dk/forretningsomraader/teknologiret/digital-regulering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-strategy.ec.europa.eu/en/faqs/ai-literacy-questions-answers#ecl-inpage-other-useful-resources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7.xml"/><Relationship Id="rId5" Type="http://schemas.openxmlformats.org/officeDocument/2006/relationships/hyperlink" Target="https://www.ds.dk/da/download/ds-pas-2500-4-2025#:~:text=Denne%20PAS%20er%20den%20fjerde%20i%20serien%2C%20der,AI-forordningen%2C%20som%20tr%C3%A5dte%20i%20kraft%202.%20februar%2020251." TargetMode="External"/><Relationship Id="rId4" Type="http://schemas.openxmlformats.org/officeDocument/2006/relationships/hyperlink" Target="https://digital-strategy.ec.europa.eu/en/library/living-repository-foster-learning-and-exchange-ai-literacy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s.dk/da/download/ds-pas-2500-4-2025#:~:text=Denne%20PAS%20er%20den%20fjerde%20i%20serien%2C%20der,AI-forordningen%2C%20som%20tr%C3%A5dte%20i%20kraft%202.%20februar%2020251.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7.xml"/><Relationship Id="rId4" Type="http://schemas.openxmlformats.org/officeDocument/2006/relationships/hyperlink" Target="https://digst.dk/tilsyn/ai-forordningen/reglerne-i-ai-forordningen/ai-faerdigheder/#accordion-3-inspiration-og-eksempler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linkedin.com/in/jesperloeffler/" TargetMode="External"/><Relationship Id="rId4" Type="http://schemas.openxmlformats.org/officeDocument/2006/relationships/image" Target="../media/image34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3" Type="http://schemas.openxmlformats.org/officeDocument/2006/relationships/image" Target="../media/image36.jpg"/><Relationship Id="rId7" Type="http://schemas.openxmlformats.org/officeDocument/2006/relationships/image" Target="../media/image40.jp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jpg"/><Relationship Id="rId5" Type="http://schemas.openxmlformats.org/officeDocument/2006/relationships/image" Target="../media/image38.jpg"/><Relationship Id="rId4" Type="http://schemas.openxmlformats.org/officeDocument/2006/relationships/image" Target="../media/image37.jpg"/><Relationship Id="rId9" Type="http://schemas.openxmlformats.org/officeDocument/2006/relationships/image" Target="../media/image42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27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1356865" y="4005064"/>
            <a:ext cx="10363200" cy="1008112"/>
          </a:xfrm>
        </p:spPr>
        <p:txBody>
          <a:bodyPr/>
          <a:lstStyle/>
          <a:p>
            <a:r>
              <a:rPr lang="da-DK" b="0" dirty="0">
                <a:latin typeface="+mn-lt"/>
              </a:rPr>
              <a:t>AI forordningens krav til AI-færdigheder</a:t>
            </a:r>
          </a:p>
        </p:txBody>
      </p:sp>
      <p:sp>
        <p:nvSpPr>
          <p:cNvPr id="4" name="Undertitel 3"/>
          <p:cNvSpPr>
            <a:spLocks noGrp="1"/>
          </p:cNvSpPr>
          <p:nvPr>
            <p:ph type="subTitle" idx="4294967295"/>
          </p:nvPr>
        </p:nvSpPr>
        <p:spPr>
          <a:xfrm>
            <a:off x="1055440" y="4797152"/>
            <a:ext cx="9937104" cy="576064"/>
          </a:xfrm>
        </p:spPr>
        <p:txBody>
          <a:bodyPr>
            <a:normAutofit/>
          </a:bodyPr>
          <a:lstStyle/>
          <a:p>
            <a:r>
              <a:rPr lang="da-DK" sz="2200" dirty="0">
                <a:solidFill>
                  <a:srgbClr val="E6D1AC"/>
                </a:solidFill>
              </a:rPr>
              <a:t>v/ Jesper Løffler Nielsen, Focus Advokater</a:t>
            </a:r>
          </a:p>
        </p:txBody>
      </p:sp>
      <p:sp>
        <p:nvSpPr>
          <p:cNvPr id="2" name="Undertitel 3">
            <a:extLst>
              <a:ext uri="{FF2B5EF4-FFF2-40B4-BE49-F238E27FC236}">
                <a16:creationId xmlns:a16="http://schemas.microsoft.com/office/drawing/2014/main" id="{3E3FBEDD-8042-3B1D-17AE-E08C254BBDD4}"/>
              </a:ext>
            </a:extLst>
          </p:cNvPr>
          <p:cNvSpPr txBox="1">
            <a:spLocks/>
          </p:cNvSpPr>
          <p:nvPr/>
        </p:nvSpPr>
        <p:spPr>
          <a:xfrm>
            <a:off x="1055440" y="5247646"/>
            <a:ext cx="9937104" cy="576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D31245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1800" dirty="0">
              <a:solidFill>
                <a:srgbClr val="E6D1A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1240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E3BFA1-FB4B-CC31-C056-3812F98286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E4E88C-D329-4EC8-DDA2-1186B0C53B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da-DK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verblik over forordningens forpligtelser </a:t>
            </a:r>
            <a:endParaRPr lang="da-DK" sz="4000" b="1" dirty="0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55A7BF12-6E67-397A-55EF-0B3E27A247C5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EED4AC13-ACC1-1929-FB71-E850D703E0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6773314"/>
              </p:ext>
            </p:extLst>
          </p:nvPr>
        </p:nvGraphicFramePr>
        <p:xfrm>
          <a:off x="257175" y="1359673"/>
          <a:ext cx="11687174" cy="40941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28825">
                  <a:extLst>
                    <a:ext uri="{9D8B030D-6E8A-4147-A177-3AD203B41FA5}">
                      <a16:colId xmlns:a16="http://schemas.microsoft.com/office/drawing/2014/main" val="2821917728"/>
                    </a:ext>
                  </a:extLst>
                </a:gridCol>
                <a:gridCol w="895350">
                  <a:extLst>
                    <a:ext uri="{9D8B030D-6E8A-4147-A177-3AD203B41FA5}">
                      <a16:colId xmlns:a16="http://schemas.microsoft.com/office/drawing/2014/main" val="630744909"/>
                    </a:ext>
                  </a:extLst>
                </a:gridCol>
                <a:gridCol w="4088130">
                  <a:extLst>
                    <a:ext uri="{9D8B030D-6E8A-4147-A177-3AD203B41FA5}">
                      <a16:colId xmlns:a16="http://schemas.microsoft.com/office/drawing/2014/main" val="1251086538"/>
                    </a:ext>
                  </a:extLst>
                </a:gridCol>
                <a:gridCol w="2522220">
                  <a:extLst>
                    <a:ext uri="{9D8B030D-6E8A-4147-A177-3AD203B41FA5}">
                      <a16:colId xmlns:a16="http://schemas.microsoft.com/office/drawing/2014/main" val="750483088"/>
                    </a:ext>
                  </a:extLst>
                </a:gridCol>
                <a:gridCol w="2152649">
                  <a:extLst>
                    <a:ext uri="{9D8B030D-6E8A-4147-A177-3AD203B41FA5}">
                      <a16:colId xmlns:a16="http://schemas.microsoft.com/office/drawing/2014/main" val="478746446"/>
                    </a:ext>
                  </a:extLst>
                </a:gridCol>
              </a:tblGrid>
              <a:tr h="392927">
                <a:tc>
                  <a:txBody>
                    <a:bodyPr/>
                    <a:lstStyle/>
                    <a:p>
                      <a:r>
                        <a:rPr lang="da-DK" sz="1600" b="1" dirty="0">
                          <a:solidFill>
                            <a:schemeClr val="bg1"/>
                          </a:solidFill>
                        </a:rPr>
                        <a:t>Forpligtels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1" dirty="0">
                          <a:solidFill>
                            <a:schemeClr val="bg1"/>
                          </a:solidFill>
                        </a:rPr>
                        <a:t>Artikler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b="1" dirty="0">
                          <a:solidFill>
                            <a:schemeClr val="bg1"/>
                          </a:solidFill>
                        </a:rPr>
                        <a:t>Uddybning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b="1" dirty="0">
                          <a:solidFill>
                            <a:schemeClr val="bg1"/>
                          </a:solidFill>
                        </a:rPr>
                        <a:t>Pligtsubjekter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b="1" dirty="0">
                          <a:solidFill>
                            <a:schemeClr val="bg1"/>
                          </a:solidFill>
                        </a:rPr>
                        <a:t>Ikrafttræden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4348956"/>
                  </a:ext>
                </a:extLst>
              </a:tr>
              <a:tr h="820844">
                <a:tc>
                  <a:txBody>
                    <a:bodyPr/>
                    <a:lstStyle/>
                    <a:p>
                      <a:r>
                        <a:rPr lang="da-DK" sz="1500" b="1" dirty="0"/>
                        <a:t>AI-færdigheder (</a:t>
                      </a:r>
                      <a:r>
                        <a:rPr lang="da-DK" sz="1500" b="1" dirty="0" err="1"/>
                        <a:t>literacy</a:t>
                      </a:r>
                      <a:r>
                        <a:rPr lang="da-DK" sz="1500" b="1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/>
                        <a:t>4</a:t>
                      </a:r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>
                          <a:solidFill>
                            <a:srgbClr val="C00000"/>
                          </a:solidFill>
                        </a:rPr>
                        <a:t>Overblik over AI-systemer, målrettet uddannelse i risici og AI </a:t>
                      </a:r>
                      <a:r>
                        <a:rPr lang="da-DK" sz="1500" dirty="0" err="1">
                          <a:solidFill>
                            <a:srgbClr val="C00000"/>
                          </a:solidFill>
                        </a:rPr>
                        <a:t>Act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</a:rPr>
                        <a:t>, risikovurderinger m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Udbydere og </a:t>
                      </a:r>
                      <a:r>
                        <a:rPr lang="da-DK" sz="1500" dirty="0" err="1"/>
                        <a:t>idriftsættere</a:t>
                      </a:r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2. februar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130756"/>
                  </a:ext>
                </a:extLst>
              </a:tr>
              <a:tr h="397565">
                <a:tc>
                  <a:txBody>
                    <a:bodyPr/>
                    <a:lstStyle/>
                    <a:p>
                      <a:r>
                        <a:rPr lang="da-DK" sz="1500" b="1" dirty="0"/>
                        <a:t>Forbudte AI-praksiss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Hvis brugen af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</a:rPr>
                        <a:t>AI falder indenfor de oplistede cases, </a:t>
                      </a:r>
                      <a:r>
                        <a:rPr lang="da-DK" sz="1500" dirty="0"/>
                        <a:t>er det forbud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Udbydere og </a:t>
                      </a:r>
                      <a:r>
                        <a:rPr lang="da-DK" sz="1500" dirty="0" err="1"/>
                        <a:t>idriftsættere</a:t>
                      </a:r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2. februar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6115680"/>
                  </a:ext>
                </a:extLst>
              </a:tr>
              <a:tr h="879747">
                <a:tc>
                  <a:txBody>
                    <a:bodyPr/>
                    <a:lstStyle/>
                    <a:p>
                      <a:r>
                        <a:rPr lang="da-DK" sz="1500" b="1" dirty="0"/>
                        <a:t>Højrisik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6-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Efterlevelse af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</a:rPr>
                        <a:t>materielle krav til AI-systemet </a:t>
                      </a:r>
                      <a:r>
                        <a:rPr lang="da-DK" sz="1500" dirty="0"/>
                        <a:t>(art. 9-15),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</a:rPr>
                        <a:t>kvalitetsstyring</a:t>
                      </a:r>
                      <a:r>
                        <a:rPr lang="da-DK" sz="1500" dirty="0"/>
                        <a:t> (art. 17) samt udarbejdelse af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</a:rPr>
                        <a:t>relevant dokumentation </a:t>
                      </a:r>
                      <a:r>
                        <a:rPr lang="da-DK" sz="1500" dirty="0"/>
                        <a:t>mv (art. 16-5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Udbydere og </a:t>
                      </a:r>
                      <a:r>
                        <a:rPr lang="da-DK" sz="1500" dirty="0" err="1"/>
                        <a:t>idriftsættere</a:t>
                      </a:r>
                      <a:endParaRPr lang="da-DK" sz="1500" dirty="0"/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 dirty="0"/>
                        <a:t>- flest forpligtelser på udbydere</a:t>
                      </a:r>
                    </a:p>
                    <a:p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2. august 2026</a:t>
                      </a:r>
                    </a:p>
                    <a:p>
                      <a:r>
                        <a:rPr lang="da-DK" sz="1500" dirty="0"/>
                        <a:t>(dog 2027 </a:t>
                      </a:r>
                      <a:r>
                        <a:rPr lang="da-DK" sz="1500" dirty="0" err="1"/>
                        <a:t>fsva</a:t>
                      </a:r>
                      <a:r>
                        <a:rPr lang="da-DK" sz="1500" dirty="0"/>
                        <a:t>. </a:t>
                      </a:r>
                      <a:r>
                        <a:rPr lang="da-DK" sz="1500" dirty="0" err="1"/>
                        <a:t>Annex</a:t>
                      </a:r>
                      <a:r>
                        <a:rPr lang="da-DK" sz="1500" dirty="0"/>
                        <a:t> I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575004"/>
                  </a:ext>
                </a:extLst>
              </a:tr>
              <a:tr h="500573">
                <a:tc>
                  <a:txBody>
                    <a:bodyPr/>
                    <a:lstStyle/>
                    <a:p>
                      <a:r>
                        <a:rPr lang="da-DK" sz="1500" b="1" dirty="0"/>
                        <a:t>Gennemsigtigh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Der skal fremgå klart, når en bruger interagere med A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Udbydere og </a:t>
                      </a:r>
                      <a:r>
                        <a:rPr lang="da-DK" sz="1500" dirty="0" err="1"/>
                        <a:t>idriftsættere</a:t>
                      </a:r>
                      <a:endParaRPr lang="da-DK" sz="1500" dirty="0"/>
                    </a:p>
                    <a:p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 dirty="0"/>
                        <a:t>2. august 2026</a:t>
                      </a:r>
                    </a:p>
                    <a:p>
                      <a:endParaRPr lang="da-DK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4249703"/>
                  </a:ext>
                </a:extLst>
              </a:tr>
              <a:tr h="500573">
                <a:tc>
                  <a:txBody>
                    <a:bodyPr/>
                    <a:lstStyle/>
                    <a:p>
                      <a:r>
                        <a:rPr lang="da-DK" sz="1500" b="1" dirty="0"/>
                        <a:t>AI-modeller til generel bru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51-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>
                          <a:solidFill>
                            <a:srgbClr val="C00000"/>
                          </a:solidFill>
                        </a:rPr>
                        <a:t>Skærpede krav </a:t>
                      </a:r>
                      <a:r>
                        <a:rPr lang="da-DK" sz="1500" dirty="0"/>
                        <a:t>til udbydere af AI-modeller til generel brug (GPT 4.0 m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i="0" dirty="0"/>
                        <a:t>Udbydere</a:t>
                      </a:r>
                      <a:r>
                        <a:rPr lang="da-DK" sz="1500" i="1" dirty="0"/>
                        <a:t> </a:t>
                      </a:r>
                      <a:r>
                        <a:rPr lang="da-DK" sz="1500" dirty="0"/>
                        <a:t>af de helt store modeller (</a:t>
                      </a:r>
                      <a:r>
                        <a:rPr lang="da-DK" sz="1500" dirty="0" err="1"/>
                        <a:t>OpenAI</a:t>
                      </a:r>
                      <a:r>
                        <a:rPr lang="da-DK" sz="1500" dirty="0"/>
                        <a:t>, Google, Meta m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2. August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60488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30770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5981B-77E6-8487-0E82-E04776326D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839C5E-0A51-D894-8181-214CBC5D2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90704"/>
            <a:ext cx="10972800" cy="1143000"/>
          </a:xfrm>
        </p:spPr>
        <p:txBody>
          <a:bodyPr/>
          <a:lstStyle/>
          <a:p>
            <a:r>
              <a:rPr lang="da-DK" dirty="0"/>
              <a:t>Overlap og samspil med anden regulering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147C80F-6D69-7279-DEBA-5D9AA2C5E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8EFF8-9AFB-494C-BA2F-BDAFDF4420FE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E6D1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E6D1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Lige forbindelse 23">
            <a:extLst>
              <a:ext uri="{FF2B5EF4-FFF2-40B4-BE49-F238E27FC236}">
                <a16:creationId xmlns:a16="http://schemas.microsoft.com/office/drawing/2014/main" id="{EA80FC31-7E35-DC31-3EEC-FD46D8F77195}"/>
              </a:ext>
            </a:extLst>
          </p:cNvPr>
          <p:cNvCxnSpPr>
            <a:cxnSpLocks/>
          </p:cNvCxnSpPr>
          <p:nvPr/>
        </p:nvCxnSpPr>
        <p:spPr>
          <a:xfrm>
            <a:off x="720552" y="908720"/>
            <a:ext cx="694928" cy="0"/>
          </a:xfrm>
          <a:prstGeom prst="line">
            <a:avLst/>
          </a:prstGeom>
          <a:ln>
            <a:solidFill>
              <a:srgbClr val="D51E4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ktangel 25">
            <a:extLst>
              <a:ext uri="{FF2B5EF4-FFF2-40B4-BE49-F238E27FC236}">
                <a16:creationId xmlns:a16="http://schemas.microsoft.com/office/drawing/2014/main" id="{AB6AC964-29DD-46AF-DBD0-F3B236D6EC15}"/>
              </a:ext>
            </a:extLst>
          </p:cNvPr>
          <p:cNvSpPr/>
          <p:nvPr/>
        </p:nvSpPr>
        <p:spPr>
          <a:xfrm>
            <a:off x="609600" y="1143000"/>
            <a:ext cx="1093912" cy="34177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7" name="Pladsholder til indhold 5">
            <a:extLst>
              <a:ext uri="{FF2B5EF4-FFF2-40B4-BE49-F238E27FC236}">
                <a16:creationId xmlns:a16="http://schemas.microsoft.com/office/drawing/2014/main" id="{8C6A75E5-E87B-4312-6CF9-F79E27FCCBF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1045699"/>
              </p:ext>
            </p:extLst>
          </p:nvPr>
        </p:nvGraphicFramePr>
        <p:xfrm>
          <a:off x="521078" y="908720"/>
          <a:ext cx="11149840" cy="5523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661492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633270-24EA-0CEC-FB36-4AD92EDB5D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C02276-C46C-0CCF-A0BB-DF97B81ED9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da-DK" sz="4000" b="1" dirty="0">
                <a:ea typeface="Calibri" panose="020F0502020204030204" pitchFamily="34" charset="0"/>
                <a:cs typeface="Calibri" panose="020F0502020204030204" pitchFamily="34" charset="0"/>
              </a:rPr>
              <a:t>Mere viden om AI forordningen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22845015-D60A-82D3-3871-102FE960DF0A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ACC76497-850E-DEDA-584F-FC7912CBC4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da-DK" sz="2500" b="0" dirty="0">
                <a:solidFill>
                  <a:srgbClr val="000000"/>
                </a:solidFill>
                <a:effectLst/>
                <a:latin typeface="inherit"/>
              </a:rPr>
              <a:t>Focus Advokater har lavet en to-siders pjece, som giver et samlet overblik over relevant viden om AI-forordningen inklusive links til relevante vejledninger, artikler, webinarer mv. </a:t>
            </a:r>
          </a:p>
          <a:p>
            <a:pPr marL="0" indent="0">
              <a:spcBef>
                <a:spcPts val="600"/>
              </a:spcBef>
              <a:buNone/>
            </a:pPr>
            <a:endParaRPr lang="da-DK" sz="2500" dirty="0">
              <a:solidFill>
                <a:srgbClr val="000000"/>
              </a:solidFill>
              <a:latin typeface="inheri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da-DK" sz="2500" dirty="0">
                <a:solidFill>
                  <a:srgbClr val="000000"/>
                </a:solidFill>
                <a:latin typeface="inherit"/>
                <a:ea typeface="Calibri" panose="020F0502020204030204" pitchFamily="34" charset="0"/>
                <a:cs typeface="Calibri" panose="020F0502020204030204" pitchFamily="34" charset="0"/>
              </a:rPr>
              <a:t>Pjecen kan downloades gratis via dette link:</a:t>
            </a:r>
          </a:p>
          <a:p>
            <a:pPr marL="0" indent="0">
              <a:spcBef>
                <a:spcPts val="600"/>
              </a:spcBef>
              <a:buNone/>
            </a:pPr>
            <a:endParaRPr lang="da-DK" sz="2500" dirty="0">
              <a:solidFill>
                <a:srgbClr val="000000"/>
              </a:solidFill>
              <a:highlight>
                <a:srgbClr val="FFFF00"/>
              </a:highlight>
              <a:latin typeface="inheri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da-DK" sz="2800" dirty="0">
                <a:hlinkClick r:id="rId3"/>
              </a:rPr>
              <a:t>Digital regulering - Focus Advokater</a:t>
            </a:r>
            <a:endParaRPr lang="en-US" sz="1000" i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a-DK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17017915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E78D2-246D-209B-8E30-ECB9E1F6B9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490FBE-614E-41CB-1745-7B5867FE4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399" y="2420888"/>
            <a:ext cx="10363200" cy="1362075"/>
          </a:xfrm>
        </p:spPr>
        <p:txBody>
          <a:bodyPr>
            <a:normAutofit/>
          </a:bodyPr>
          <a:lstStyle/>
          <a:p>
            <a:pPr algn="ctr">
              <a:tabLst>
                <a:tab pos="4930775" algn="l"/>
                <a:tab pos="5026025" algn="l"/>
              </a:tabLst>
            </a:pPr>
            <a:r>
              <a:rPr lang="da" sz="4000" b="1" dirty="0"/>
              <a:t>Deep dive: AI færdigheder</a:t>
            </a:r>
            <a:endParaRPr lang="da-DK" sz="4000" b="1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9E3DD36-A39A-52FA-E1D2-067317D598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8EFF8-9AFB-494C-BA2F-BDAFDF4420FE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E6D1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E6D1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F12A6398-F030-B607-DF18-3FCFFE914C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3499" y="4144595"/>
            <a:ext cx="905001" cy="257211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E2962A88-3310-AE1C-56A8-3710F8EED3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3499" y="1217245"/>
            <a:ext cx="905001" cy="257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2640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E3BFA1-FB4B-CC31-C056-3812F98286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E4E88C-D329-4EC8-DDA2-1186B0C53B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da-DK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verblik over forordningens forpligtelser </a:t>
            </a:r>
            <a:endParaRPr lang="da-DK" sz="4000" b="1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55A7BF12-6E67-397A-55EF-0B3E27A247C5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EED4AC13-ACC1-1929-FB71-E850D703E073}"/>
              </a:ext>
            </a:extLst>
          </p:cNvPr>
          <p:cNvGraphicFramePr>
            <a:graphicFrameLocks noGrp="1"/>
          </p:cNvGraphicFramePr>
          <p:nvPr/>
        </p:nvGraphicFramePr>
        <p:xfrm>
          <a:off x="257175" y="1359673"/>
          <a:ext cx="11687174" cy="43227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46160">
                  <a:extLst>
                    <a:ext uri="{9D8B030D-6E8A-4147-A177-3AD203B41FA5}">
                      <a16:colId xmlns:a16="http://schemas.microsoft.com/office/drawing/2014/main" val="2821917728"/>
                    </a:ext>
                  </a:extLst>
                </a:gridCol>
                <a:gridCol w="873939">
                  <a:extLst>
                    <a:ext uri="{9D8B030D-6E8A-4147-A177-3AD203B41FA5}">
                      <a16:colId xmlns:a16="http://schemas.microsoft.com/office/drawing/2014/main" val="630744909"/>
                    </a:ext>
                  </a:extLst>
                </a:gridCol>
                <a:gridCol w="3992206">
                  <a:extLst>
                    <a:ext uri="{9D8B030D-6E8A-4147-A177-3AD203B41FA5}">
                      <a16:colId xmlns:a16="http://schemas.microsoft.com/office/drawing/2014/main" val="1251086538"/>
                    </a:ext>
                  </a:extLst>
                </a:gridCol>
                <a:gridCol w="2522220">
                  <a:extLst>
                    <a:ext uri="{9D8B030D-6E8A-4147-A177-3AD203B41FA5}">
                      <a16:colId xmlns:a16="http://schemas.microsoft.com/office/drawing/2014/main" val="750483088"/>
                    </a:ext>
                  </a:extLst>
                </a:gridCol>
                <a:gridCol w="2152649">
                  <a:extLst>
                    <a:ext uri="{9D8B030D-6E8A-4147-A177-3AD203B41FA5}">
                      <a16:colId xmlns:a16="http://schemas.microsoft.com/office/drawing/2014/main" val="478746446"/>
                    </a:ext>
                  </a:extLst>
                </a:gridCol>
              </a:tblGrid>
              <a:tr h="392927">
                <a:tc>
                  <a:txBody>
                    <a:bodyPr/>
                    <a:lstStyle/>
                    <a:p>
                      <a:r>
                        <a:rPr lang="da-DK" sz="1600" b="1">
                          <a:solidFill>
                            <a:schemeClr val="bg1"/>
                          </a:solidFill>
                        </a:rPr>
                        <a:t>Forpligtels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1">
                          <a:solidFill>
                            <a:schemeClr val="bg1"/>
                          </a:solidFill>
                        </a:rPr>
                        <a:t>Artikler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b="1">
                          <a:solidFill>
                            <a:schemeClr val="bg1"/>
                          </a:solidFill>
                        </a:rPr>
                        <a:t>Uddybning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b="1">
                          <a:solidFill>
                            <a:schemeClr val="bg1"/>
                          </a:solidFill>
                        </a:rPr>
                        <a:t>Pligtsubjekter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b="1">
                          <a:solidFill>
                            <a:schemeClr val="bg1"/>
                          </a:solidFill>
                        </a:rPr>
                        <a:t>Ikrafttræden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4348956"/>
                  </a:ext>
                </a:extLst>
              </a:tr>
              <a:tr h="820844">
                <a:tc>
                  <a:txBody>
                    <a:bodyPr/>
                    <a:lstStyle/>
                    <a:p>
                      <a:r>
                        <a:rPr lang="da-DK" sz="1500" b="1"/>
                        <a:t>AI-færdigheder (</a:t>
                      </a:r>
                      <a:r>
                        <a:rPr lang="da-DK" sz="1500" b="1" err="1"/>
                        <a:t>literacy</a:t>
                      </a:r>
                      <a:r>
                        <a:rPr lang="da-DK" sz="1500" b="1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/>
                        <a:t>Overblik over AI-systemer, målrettet uddannelse i risici og AI </a:t>
                      </a:r>
                      <a:r>
                        <a:rPr lang="da-DK" sz="1500" err="1"/>
                        <a:t>Act</a:t>
                      </a:r>
                      <a:r>
                        <a:rPr lang="da-DK" sz="1500"/>
                        <a:t>, risikovurderinger m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/>
                        <a:t>”</a:t>
                      </a:r>
                      <a:r>
                        <a:rPr lang="da-DK" sz="1500" i="1"/>
                        <a:t>Providers</a:t>
                      </a:r>
                      <a:r>
                        <a:rPr lang="da-DK" sz="1500"/>
                        <a:t>” og ”</a:t>
                      </a:r>
                      <a:r>
                        <a:rPr lang="da-DK" sz="1500" i="1" err="1"/>
                        <a:t>deployers</a:t>
                      </a:r>
                      <a:r>
                        <a:rPr lang="da-DK" sz="1500"/>
                        <a:t>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/>
                        <a:t>2. februar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130756"/>
                  </a:ext>
                </a:extLst>
              </a:tr>
              <a:tr h="397565">
                <a:tc>
                  <a:txBody>
                    <a:bodyPr/>
                    <a:lstStyle/>
                    <a:p>
                      <a:r>
                        <a:rPr lang="da-DK" sz="15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orbudte AI-praksiss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Hvis brugen af AI falder indenfor de oplistede cases, er det forbud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lle (der bruger A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februar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6115680"/>
                  </a:ext>
                </a:extLst>
              </a:tr>
              <a:tr h="879747">
                <a:tc>
                  <a:txBody>
                    <a:bodyPr/>
                    <a:lstStyle/>
                    <a:p>
                      <a:r>
                        <a:rPr lang="da-DK" sz="15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Højrisik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6-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lassificering af systemer/cases (art. 6 + bilag I og III), efterlevelse af materielle krav til systemet (art. 9-15), kvalitetsstyring (art. 17) samt udarbejdelse af relevant dokumentation mv (art. 16-5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”</a:t>
                      </a:r>
                      <a:r>
                        <a:rPr lang="da-DK" sz="1500" i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viders</a:t>
                      </a: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” og ”</a:t>
                      </a:r>
                      <a:r>
                        <a:rPr lang="da-DK" sz="1500" i="1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deployers</a:t>
                      </a: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”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- flest forpligtelser på ”</a:t>
                      </a:r>
                      <a:r>
                        <a:rPr lang="da-DK" sz="150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viders</a:t>
                      </a: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”</a:t>
                      </a:r>
                    </a:p>
                    <a:p>
                      <a:endParaRPr lang="da-DK" sz="150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august 2026</a:t>
                      </a:r>
                    </a:p>
                    <a:p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(dog 2027 </a:t>
                      </a:r>
                      <a:r>
                        <a:rPr lang="da-DK" sz="150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sva</a:t>
                      </a: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da-DK" sz="150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nnex</a:t>
                      </a: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I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575004"/>
                  </a:ext>
                </a:extLst>
              </a:tr>
              <a:tr h="500573">
                <a:tc>
                  <a:txBody>
                    <a:bodyPr/>
                    <a:lstStyle/>
                    <a:p>
                      <a:r>
                        <a:rPr lang="da-DK" sz="15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Gennemsigtigh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Der skal fremgå klart, når en bruger interagere med A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”</a:t>
                      </a:r>
                      <a:r>
                        <a:rPr lang="da-DK" sz="1500" i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viders</a:t>
                      </a: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” og ”</a:t>
                      </a:r>
                      <a:r>
                        <a:rPr lang="da-DK" sz="1500" i="1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deployers</a:t>
                      </a: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”</a:t>
                      </a:r>
                    </a:p>
                    <a:p>
                      <a:endParaRPr lang="da-DK" sz="150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august 2026</a:t>
                      </a:r>
                    </a:p>
                    <a:p>
                      <a:endParaRPr lang="da-DK" sz="150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4249703"/>
                  </a:ext>
                </a:extLst>
              </a:tr>
              <a:tr h="500573">
                <a:tc>
                  <a:txBody>
                    <a:bodyPr/>
                    <a:lstStyle/>
                    <a:p>
                      <a:r>
                        <a:rPr lang="da-DK" sz="15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Krav til GPAI-modeller</a:t>
                      </a:r>
                    </a:p>
                    <a:p>
                      <a:r>
                        <a:rPr lang="da-DK" sz="1500" b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(AI-systemer til almen bru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1-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Skærpede krav til udbydere af AI-modeller til generel brug (GPT 4.0 m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”</a:t>
                      </a:r>
                      <a:r>
                        <a:rPr lang="da-DK" sz="1500" i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viders</a:t>
                      </a: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” af de helt store modeller (</a:t>
                      </a:r>
                      <a:r>
                        <a:rPr lang="da-DK" sz="150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OpenAI</a:t>
                      </a:r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, Google, Meta m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August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60488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1007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A1D69E-1BCC-5A45-80F5-D9F16B303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1AFA8C-DD1A-EE68-A212-90E8E52D5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da-DK" sz="4000" b="1" dirty="0">
                <a:ea typeface="Calibri" panose="020F0502020204030204" pitchFamily="34" charset="0"/>
                <a:cs typeface="Calibri" panose="020F0502020204030204" pitchFamily="34" charset="0"/>
              </a:rPr>
              <a:t>AI </a:t>
            </a:r>
            <a:r>
              <a:rPr lang="da-DK" sz="4000" b="1" dirty="0" err="1">
                <a:ea typeface="Calibri" panose="020F0502020204030204" pitchFamily="34" charset="0"/>
                <a:cs typeface="Calibri" panose="020F0502020204030204" pitchFamily="34" charset="0"/>
              </a:rPr>
              <a:t>Act</a:t>
            </a:r>
            <a:r>
              <a:rPr lang="da-DK" sz="4000" b="1" dirty="0">
                <a:ea typeface="Calibri" panose="020F0502020204030204" pitchFamily="34" charset="0"/>
                <a:cs typeface="Calibri" panose="020F0502020204030204" pitchFamily="34" charset="0"/>
              </a:rPr>
              <a:t> art. 4 – ”AI færdigheder”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72334FCA-1F0F-380F-31C1-4D6D846ED3A2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5A4AAF30-2717-D27D-8B80-1F8FCD6D18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da-DK" sz="1800" b="0" i="1" dirty="0">
                <a:solidFill>
                  <a:srgbClr val="000000"/>
                </a:solidFill>
                <a:effectLst/>
                <a:latin typeface="inherit"/>
              </a:rPr>
              <a:t>”Udbydere og </a:t>
            </a:r>
            <a:r>
              <a:rPr lang="da-DK" sz="1800" b="0" i="1" dirty="0" err="1">
                <a:solidFill>
                  <a:srgbClr val="000000"/>
                </a:solidFill>
                <a:effectLst/>
                <a:latin typeface="inherit"/>
              </a:rPr>
              <a:t>idriftsættere</a:t>
            </a:r>
            <a:r>
              <a:rPr lang="da-DK" sz="1800" b="0" i="1" dirty="0">
                <a:solidFill>
                  <a:srgbClr val="000000"/>
                </a:solidFill>
                <a:effectLst/>
                <a:latin typeface="inherit"/>
              </a:rPr>
              <a:t> af AI-systemer træffer </a:t>
            </a:r>
            <a:r>
              <a:rPr lang="da-DK" sz="1800" b="0" i="1" dirty="0">
                <a:solidFill>
                  <a:srgbClr val="C00000"/>
                </a:solidFill>
                <a:effectLst/>
                <a:latin typeface="inherit"/>
              </a:rPr>
              <a:t>foranstaltninger</a:t>
            </a:r>
            <a:r>
              <a:rPr lang="da-DK" sz="1800" b="0" i="1" dirty="0">
                <a:solidFill>
                  <a:srgbClr val="000000"/>
                </a:solidFill>
                <a:effectLst/>
                <a:latin typeface="inherit"/>
              </a:rPr>
              <a:t> til i videst muligt omfang at sikre et </a:t>
            </a:r>
            <a:r>
              <a:rPr lang="da-DK" sz="1800" b="0" i="1" dirty="0">
                <a:solidFill>
                  <a:srgbClr val="C00000"/>
                </a:solidFill>
                <a:effectLst/>
                <a:latin typeface="inherit"/>
              </a:rPr>
              <a:t>tilstrækkeligt niveau af AI-færdigheder hos deres personale og andre personer</a:t>
            </a:r>
            <a:r>
              <a:rPr lang="da-DK" sz="1800" b="0" i="1" dirty="0">
                <a:solidFill>
                  <a:srgbClr val="000000"/>
                </a:solidFill>
                <a:effectLst/>
                <a:latin typeface="inherit"/>
              </a:rPr>
              <a:t>, der er involveret i drift og anvendelse af AI-systemer på deres vegne, og </a:t>
            </a:r>
            <a:r>
              <a:rPr lang="da-DK" sz="1800" b="0" i="1" dirty="0">
                <a:solidFill>
                  <a:srgbClr val="C00000"/>
                </a:solidFill>
                <a:effectLst/>
                <a:latin typeface="inherit"/>
              </a:rPr>
              <a:t>tager herved hensyn til disse personers tekniske viden, erfaring og uddannelse og den kontekst, hvori AI-systemerne skal anvendes</a:t>
            </a:r>
            <a:r>
              <a:rPr lang="da-DK" sz="1800" b="0" i="1" dirty="0">
                <a:solidFill>
                  <a:srgbClr val="000000"/>
                </a:solidFill>
                <a:effectLst/>
                <a:latin typeface="inherit"/>
              </a:rPr>
              <a:t>, og de personer eller grupper af personer, som AI-systemerne skal anvendes på.”</a:t>
            </a:r>
          </a:p>
          <a:p>
            <a:pPr marL="0" indent="0">
              <a:spcBef>
                <a:spcPts val="600"/>
              </a:spcBef>
              <a:buNone/>
            </a:pPr>
            <a:endParaRPr lang="da-DK" sz="1500" b="0" i="1" dirty="0">
              <a:solidFill>
                <a:srgbClr val="000000"/>
              </a:solidFill>
              <a:effectLst/>
              <a:latin typeface="inherit"/>
            </a:endParaRPr>
          </a:p>
          <a:p>
            <a:pPr marL="0" indent="0">
              <a:buNone/>
            </a:pPr>
            <a:r>
              <a:rPr lang="da-DK" sz="1800" b="1" dirty="0"/>
              <a:t>Konkretisering af kravet:</a:t>
            </a:r>
          </a:p>
          <a:p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mmissionens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AQ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ra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j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2025 (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/>
              </a:rPr>
              <a:t>link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</a:t>
            </a:r>
          </a:p>
          <a:p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t ”inspirationskatalog”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liceret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f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U-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mmissione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link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ecifikatio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ra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ansk Standard (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link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lvl="1"/>
            <a:endParaRPr lang="en-US" sz="1000" i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a-DK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12441035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857936-7C48-BF2C-0413-58E24C5FF1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9BE7DB-A4B9-836C-9864-BEFA7FB9A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da-DK" sz="4000" b="1" dirty="0">
                <a:ea typeface="Calibri" panose="020F0502020204030204" pitchFamily="34" charset="0"/>
                <a:cs typeface="Calibri" panose="020F0502020204030204" pitchFamily="34" charset="0"/>
              </a:rPr>
              <a:t>DS/PAS 2500 – 4:2025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A25F42E3-D331-46DA-D786-F5A64AA01897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F10A6181-4FC1-14CA-E13E-3B9E469519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1"/>
            <a:ext cx="5630416" cy="452596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a-DK" sz="1600" i="1" dirty="0"/>
              <a:t>”I specifikationen sætter vi fokus på kravene til AI-færdigheder, der har sit udspring i kapitel 4 i AI-forordningen… </a:t>
            </a:r>
            <a:r>
              <a:rPr lang="da-DK" sz="1600" b="1" i="1" dirty="0"/>
              <a:t>Specifikationen er ikke henvendt til udbydere eller udviklere af AI-systemer.</a:t>
            </a:r>
          </a:p>
          <a:p>
            <a:pPr marL="0" indent="0">
              <a:buNone/>
            </a:pPr>
            <a:endParaRPr lang="da-DK" sz="1600" b="1" i="1" dirty="0"/>
          </a:p>
          <a:p>
            <a:pPr marL="0" indent="0">
              <a:buNone/>
            </a:pPr>
            <a:r>
              <a:rPr lang="da-DK" sz="1600" i="1" dirty="0"/>
              <a:t>Specifikationen bygger på retningslinjer fra Europa-Kommissionen og Digitaliseringsstyrelsen for fortolkning af artikel 4 (se anneks A for flere detaljer). Den vejleder virksomheder og organisationer i at komme godt fra start, men sikrer ikke fuld overholdelse af artikel 4...”</a:t>
            </a:r>
          </a:p>
          <a:p>
            <a:pPr marL="0" indent="0">
              <a:buNone/>
            </a:pPr>
            <a:endParaRPr lang="fr-FR" sz="1600" i="1" dirty="0">
              <a:hlinkClick r:id="rId3"/>
            </a:endParaRPr>
          </a:p>
          <a:p>
            <a:pPr marL="0" indent="0">
              <a:buNone/>
            </a:pPr>
            <a:r>
              <a:rPr lang="fr-FR" sz="1600" dirty="0">
                <a:hlinkClick r:id="rId3"/>
              </a:rPr>
              <a:t>DS/PAS 2500-4:2025 « AI-</a:t>
            </a:r>
            <a:r>
              <a:rPr lang="fr-FR" sz="1600" dirty="0" err="1">
                <a:hlinkClick r:id="rId3"/>
              </a:rPr>
              <a:t>færdigheder</a:t>
            </a:r>
            <a:r>
              <a:rPr lang="fr-FR" sz="1600" dirty="0">
                <a:hlinkClick r:id="rId3"/>
              </a:rPr>
              <a:t> » - Dansk Standard</a:t>
            </a:r>
            <a:endParaRPr lang="en-US" sz="1600" i="1" dirty="0">
              <a:solidFill>
                <a:srgbClr val="C00000"/>
              </a:solidFill>
              <a:latin typeface="Calibri" panose="020F0502020204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2DE311C8-C508-2EBD-1DED-5A9942DD94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4440" y="0"/>
            <a:ext cx="59010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8170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970CC0-908B-6CCC-B9A1-748A7FBB5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A98141-91B3-D6F6-48CD-88B663BD3D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495300"/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mmissionens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Q&amp;A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ra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j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2025 –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ddrag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7F2AD4BA-C96D-C384-3068-C26E97E6D79D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1B57F164-7244-6347-1FC7-92D59B25C5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1"/>
            <a:ext cx="11325225" cy="4525963"/>
          </a:xfrm>
        </p:spPr>
        <p:txBody>
          <a:bodyPr>
            <a:noAutofit/>
          </a:bodyPr>
          <a:lstStyle/>
          <a:p>
            <a:pPr marL="0" indent="0" defTabSz="495300">
              <a:buNone/>
            </a:pPr>
            <a:r>
              <a:rPr lang="en-US" sz="1500" b="1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“What should be the minimum content to consider for an AI literacy </a:t>
            </a:r>
            <a:r>
              <a:rPr lang="en-US" sz="1500" b="1" i="1" dirty="0" err="1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programme</a:t>
            </a:r>
            <a:r>
              <a:rPr lang="en-US" sz="1500" b="1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complying with article 4 of the AI Act? </a:t>
            </a:r>
            <a:endParaRPr lang="da-DK" sz="15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indent="0" defTabSz="495300">
              <a:buNone/>
            </a:pPr>
            <a:r>
              <a:rPr lang="en-US" sz="1400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e AI Office will not impose strict requirements regarding Article 4 of the AI Act and its “sufficient level of AI literacy”. On the contrary, it considers necessary a certain degree of flexibility, considering the broad topic of AI literacy and the fast-evolving technology that AI is. </a:t>
            </a:r>
          </a:p>
          <a:p>
            <a:pPr marL="0" indent="0" defTabSz="495300">
              <a:buNone/>
            </a:pPr>
            <a:endParaRPr lang="en-US" sz="1400" i="1" dirty="0">
              <a:solidFill>
                <a:srgbClr val="C00000"/>
              </a:solidFill>
              <a:latin typeface="Calibri" panose="020F0502020204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indent="0" defTabSz="495300">
              <a:buNone/>
            </a:pPr>
            <a:r>
              <a:rPr lang="en-US" sz="14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Yet, as a minimum, to comply with Article 4 of the AI Act, providers and deployers of AI systems should: </a:t>
            </a:r>
            <a:endParaRPr lang="da-DK" sz="14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indent="0" defTabSz="495300">
              <a:buNone/>
            </a:pPr>
            <a:r>
              <a:rPr lang="en-US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) </a:t>
            </a:r>
            <a:r>
              <a:rPr lang="en-US" sz="14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nsure a general understanding of AI within their </a:t>
            </a:r>
            <a:r>
              <a:rPr lang="en-US" sz="1400" i="1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rganisation</a:t>
            </a:r>
            <a:r>
              <a:rPr lang="en-US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: What is AI? How does it work? What AI is used in our </a:t>
            </a:r>
            <a:r>
              <a:rPr lang="en-US" sz="1400" i="1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rganisation</a:t>
            </a:r>
            <a:r>
              <a:rPr lang="en-US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? What are its opportunities and dangers? </a:t>
            </a:r>
            <a:endParaRPr lang="da-DK" sz="14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lvl="0" indent="0" defTabSz="495300">
              <a:buNone/>
            </a:pPr>
            <a:r>
              <a:rPr lang="en-US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) </a:t>
            </a:r>
            <a:r>
              <a:rPr lang="en-US" sz="14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onsider the role of their </a:t>
            </a:r>
            <a:r>
              <a:rPr lang="en-US" sz="1400" i="1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rganisation</a:t>
            </a:r>
            <a:r>
              <a:rPr lang="en-US" sz="14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(provider or deployer of AI systems): I</a:t>
            </a:r>
            <a:r>
              <a:rPr lang="en-US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 my </a:t>
            </a:r>
            <a:r>
              <a:rPr lang="en-US" sz="1400" i="1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rganisation</a:t>
            </a:r>
            <a:r>
              <a:rPr lang="en-US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developing AI systems or just using AI systems developed by another </a:t>
            </a:r>
            <a:r>
              <a:rPr lang="en-US" sz="1400" i="1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rganisation</a:t>
            </a:r>
            <a:r>
              <a:rPr lang="en-US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? </a:t>
            </a:r>
            <a:endParaRPr lang="da-DK" sz="14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lvl="0" indent="0" defTabSz="495300">
              <a:buNone/>
            </a:pPr>
            <a:r>
              <a:rPr lang="en-US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) Consider the </a:t>
            </a:r>
            <a:r>
              <a:rPr lang="en-US" sz="14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isk of the AI systems provided or deployed</a:t>
            </a:r>
            <a:r>
              <a:rPr lang="da-DK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…</a:t>
            </a:r>
            <a:endParaRPr lang="da-DK" sz="14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lvl="0" indent="0" defTabSz="495300">
              <a:buNone/>
            </a:pPr>
            <a:r>
              <a:rPr lang="en-US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d) Concretely </a:t>
            </a:r>
            <a:r>
              <a:rPr lang="en-US" sz="14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uild their AI literacy actions on the preceding analysis,</a:t>
            </a:r>
            <a:r>
              <a:rPr lang="en-US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considering differences in technical knowledge, experience, education and training of the staff and other persons…</a:t>
            </a:r>
          </a:p>
          <a:p>
            <a:pPr marL="0" lvl="0" indent="0" defTabSz="495300">
              <a:buNone/>
            </a:pPr>
            <a:r>
              <a:rPr lang="en-US" sz="1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</a:t>
            </a:r>
            <a:endParaRPr lang="da-DK" sz="14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0" lvl="0" indent="0" defTabSz="495300">
              <a:buNone/>
            </a:pPr>
            <a:r>
              <a:rPr lang="en-US" sz="14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onsiderations a, b, c, and d include legal and ethical aspects. </a:t>
            </a:r>
            <a:r>
              <a:rPr lang="en-US" sz="1400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erefore, </a:t>
            </a:r>
            <a:r>
              <a:rPr lang="en-US" sz="14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onnections to the EU AI regulation (i.e., understanding of the AI Act) and to principles of ethics and governance are encouraged.”</a:t>
            </a:r>
          </a:p>
        </p:txBody>
      </p:sp>
    </p:spTree>
    <p:extLst>
      <p:ext uri="{BB962C8B-B14F-4D97-AF65-F5344CB8AC3E}">
        <p14:creationId xmlns:p14="http://schemas.microsoft.com/office/powerpoint/2010/main" val="10535161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FADBAD-184B-662B-DC73-B9FAF4A3B8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DEDE9D-0A3C-D5E8-7777-D5707B4AF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495300"/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mmissionens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Q&amp;A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ra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j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2025 –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ddrag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83F1406D-7E6D-6AE3-3FFA-1DAEF78CB01D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CD27495D-850E-53A4-625E-3EF2304D6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1"/>
            <a:ext cx="11325225" cy="4525963"/>
          </a:xfrm>
        </p:spPr>
        <p:txBody>
          <a:bodyPr>
            <a:noAutofit/>
          </a:bodyPr>
          <a:lstStyle/>
          <a:p>
            <a:pPr marL="0" indent="0" defTabSz="495300">
              <a:buNone/>
            </a:pPr>
            <a:endParaRPr lang="en-US" sz="1500" b="1" i="1" dirty="0">
              <a:latin typeface="Calibri" panose="020F0502020204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indent="0" defTabSz="495300">
              <a:buNone/>
            </a:pPr>
            <a:r>
              <a:rPr lang="en-US" sz="1500" b="1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“Does the Commission already have a plan to put in place Article 4 of the AI Act in terms of its own employees?</a:t>
            </a:r>
          </a:p>
          <a:p>
            <a:pPr marL="0" indent="0" defTabSz="495300">
              <a:buNone/>
            </a:pPr>
            <a:r>
              <a:rPr lang="en-US" sz="1500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e AI@EC Communication already identified as operational action to Develop a policy to build and maintain an AI-skilled workforce. The European Commissions has already implemented several measures for its staff regarding AI literacy:</a:t>
            </a:r>
          </a:p>
          <a:p>
            <a:pPr defTabSz="495300"/>
            <a:r>
              <a:rPr lang="en-US" sz="1500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e creation of </a:t>
            </a:r>
            <a:r>
              <a:rPr lang="en-US" sz="15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internal AI specific web portal </a:t>
            </a:r>
            <a:r>
              <a:rPr lang="en-US" sz="1500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s one-stop shop accessible to all staff to the AI related content – AI guidelines, AI training resources, events, and news.</a:t>
            </a:r>
          </a:p>
          <a:p>
            <a:pPr defTabSz="495300"/>
            <a:r>
              <a:rPr lang="en-US" sz="15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Definition on the Commission training platform of AI learning packages</a:t>
            </a:r>
            <a:r>
              <a:rPr lang="en-US" sz="1500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, oriented to different targets – generalist, managers, and developers (specialist). These packages contain a curated list of relevant trainings, </a:t>
            </a:r>
            <a:r>
              <a:rPr lang="en-US" sz="1500" i="1" dirty="0" err="1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ategorising</a:t>
            </a:r>
            <a:r>
              <a:rPr lang="en-US" sz="1500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then on essential, highly recommended and recommended.  Additional trainings and recording of webinars are available also in the platform.</a:t>
            </a:r>
          </a:p>
          <a:p>
            <a:pPr defTabSz="495300"/>
            <a:r>
              <a:rPr lang="en-US" sz="1500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I tools trainings - </a:t>
            </a:r>
            <a:r>
              <a:rPr lang="en-US" sz="15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pecific section in the AI portal list the AI tools, </a:t>
            </a:r>
            <a:r>
              <a:rPr lang="en-US" sz="1500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vailable to all staff has been created that includes the relevant learning resources for each tool. There are periodic Q&amp;A sessions on using AI in your daily work.</a:t>
            </a:r>
          </a:p>
          <a:p>
            <a:pPr defTabSz="495300"/>
            <a:r>
              <a:rPr lang="en-US" sz="1500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n </a:t>
            </a:r>
            <a:r>
              <a:rPr lang="en-US" sz="15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I community of practice </a:t>
            </a:r>
            <a:r>
              <a:rPr lang="en-US" sz="1500" i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xists where any person can do questions related to AI and interact with AI experts.”</a:t>
            </a:r>
            <a:endParaRPr lang="en-US" sz="1400" i="1" dirty="0">
              <a:solidFill>
                <a:srgbClr val="C00000"/>
              </a:solidFill>
              <a:effectLst/>
              <a:latin typeface="Calibri" panose="020F0502020204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8603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B0FFF-192A-F047-3059-63A6E976F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/>
              <a:t>Andre interessante elementer fra Kommissionens Q&amp;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2B93BA-908F-3BD5-1B65-77B2D2F683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A8B519-C47B-04D0-E719-141F683E32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D8EFF8-9AFB-494C-BA2F-BDAFDF4420FE}" type="slidenum">
              <a:rPr lang="da-DK" smtClean="0"/>
              <a:pPr/>
              <a:t>19</a:t>
            </a:fld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F768D8-D51E-B9A2-639F-4E2581CCDF71}"/>
              </a:ext>
            </a:extLst>
          </p:cNvPr>
          <p:cNvSpPr/>
          <p:nvPr/>
        </p:nvSpPr>
        <p:spPr>
          <a:xfrm>
            <a:off x="576261" y="1302545"/>
            <a:ext cx="11006138" cy="1704690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i="1" dirty="0">
                <a:solidFill>
                  <a:schemeClr val="tx1"/>
                </a:solidFill>
              </a:rPr>
              <a:t>When will the enforcement start? Is a company already late/at risk if it has not yet an established AI literacy initiative?</a:t>
            </a:r>
          </a:p>
          <a:p>
            <a:endParaRPr lang="en-US" b="1" i="1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Article 4 of the AI Act entered into application on </a:t>
            </a:r>
            <a:r>
              <a:rPr lang="en-US" i="1" dirty="0">
                <a:solidFill>
                  <a:srgbClr val="C00000"/>
                </a:solidFill>
              </a:rPr>
              <a:t>2 February 2025</a:t>
            </a:r>
            <a:r>
              <a:rPr lang="en-US" i="1" dirty="0">
                <a:solidFill>
                  <a:schemeClr val="tx1"/>
                </a:solidFill>
              </a:rPr>
              <a:t>, therefore the obligation to take measures to ensure AI literacy of their staff already applies. The supervision and enforcement rules apply from </a:t>
            </a:r>
            <a:r>
              <a:rPr lang="en-US" i="1" dirty="0">
                <a:solidFill>
                  <a:srgbClr val="C00000"/>
                </a:solidFill>
              </a:rPr>
              <a:t>3 August 2026 </a:t>
            </a:r>
            <a:r>
              <a:rPr lang="en-US" i="1" dirty="0">
                <a:solidFill>
                  <a:schemeClr val="tx1"/>
                </a:solidFill>
              </a:rPr>
              <a:t>onwards.</a:t>
            </a:r>
            <a:endParaRPr lang="da-DK" i="1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1F124AD-C74C-6FCF-AC62-787E6DE395E1}"/>
              </a:ext>
            </a:extLst>
          </p:cNvPr>
          <p:cNvSpPr/>
          <p:nvPr/>
        </p:nvSpPr>
        <p:spPr>
          <a:xfrm>
            <a:off x="592930" y="4581128"/>
            <a:ext cx="10989469" cy="1453981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i="1" dirty="0">
                <a:solidFill>
                  <a:schemeClr val="tx1"/>
                </a:solidFill>
              </a:rPr>
              <a:t>How do </a:t>
            </a:r>
            <a:r>
              <a:rPr lang="en-US" b="1" i="1" dirty="0" err="1">
                <a:solidFill>
                  <a:schemeClr val="tx1"/>
                </a:solidFill>
              </a:rPr>
              <a:t>organisations</a:t>
            </a:r>
            <a:r>
              <a:rPr lang="en-US" b="1" i="1" dirty="0">
                <a:solidFill>
                  <a:schemeClr val="tx1"/>
                </a:solidFill>
              </a:rPr>
              <a:t> have to document their actions to comply with article 4 of the AI Act and the best effort provisions in it? Do they need specific certificates?</a:t>
            </a:r>
          </a:p>
          <a:p>
            <a:endParaRPr lang="en-US" b="1" i="1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There is no need for a certificate. </a:t>
            </a:r>
            <a:r>
              <a:rPr lang="en-US" i="1" dirty="0" err="1">
                <a:solidFill>
                  <a:srgbClr val="C00000"/>
                </a:solidFill>
              </a:rPr>
              <a:t>Organisations</a:t>
            </a:r>
            <a:r>
              <a:rPr lang="en-US" i="1" dirty="0">
                <a:solidFill>
                  <a:srgbClr val="C00000"/>
                </a:solidFill>
              </a:rPr>
              <a:t> can keep an internal record of trainings and/or other guiding initiatives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CCB90B-360F-0E44-E88B-2C3793D2D228}"/>
              </a:ext>
            </a:extLst>
          </p:cNvPr>
          <p:cNvSpPr/>
          <p:nvPr/>
        </p:nvSpPr>
        <p:spPr>
          <a:xfrm>
            <a:off x="576261" y="3181747"/>
            <a:ext cx="11006138" cy="1224869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i="1" dirty="0">
                <a:solidFill>
                  <a:schemeClr val="tx1"/>
                </a:solidFill>
              </a:rPr>
              <a:t>Does a company, whose employees are using </a:t>
            </a:r>
            <a:r>
              <a:rPr lang="en-US" b="1" i="1" dirty="0">
                <a:solidFill>
                  <a:srgbClr val="C00000"/>
                </a:solidFill>
              </a:rPr>
              <a:t>ChatGPT</a:t>
            </a:r>
            <a:r>
              <a:rPr lang="en-US" b="1" i="1" dirty="0">
                <a:solidFill>
                  <a:schemeClr val="tx1"/>
                </a:solidFill>
              </a:rPr>
              <a:t> for, e.g., </a:t>
            </a:r>
            <a:r>
              <a:rPr lang="en-US" b="1" i="1" dirty="0">
                <a:solidFill>
                  <a:srgbClr val="C00000"/>
                </a:solidFill>
              </a:rPr>
              <a:t>writing advertisement text or translating text, </a:t>
            </a:r>
            <a:r>
              <a:rPr lang="en-US" b="1" i="1" dirty="0">
                <a:solidFill>
                  <a:schemeClr val="tx1"/>
                </a:solidFill>
              </a:rPr>
              <a:t>need to comply with the AI literacy requirement of Article 4 of the AI Act?</a:t>
            </a:r>
          </a:p>
          <a:p>
            <a:endParaRPr lang="en-US" b="1" i="1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rgbClr val="C00000"/>
                </a:solidFill>
              </a:rPr>
              <a:t>Yes, they should be informed about the specific risks, for example hallucination</a:t>
            </a:r>
            <a:endParaRPr lang="da-DK" i="1" dirty="0">
              <a:solidFill>
                <a:srgbClr val="C00000"/>
              </a:solidFill>
            </a:endParaRPr>
          </a:p>
        </p:txBody>
      </p:sp>
      <p:cxnSp>
        <p:nvCxnSpPr>
          <p:cNvPr id="6" name="Lige forbindelse 5">
            <a:extLst>
              <a:ext uri="{FF2B5EF4-FFF2-40B4-BE49-F238E27FC236}">
                <a16:creationId xmlns:a16="http://schemas.microsoft.com/office/drawing/2014/main" id="{479CDD54-3DC5-1857-FEAA-42BAE94C3C35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15340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1F32D677-BA6C-D979-D9EE-187CB75E35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85412" y="1"/>
            <a:ext cx="3406588" cy="6044076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87759"/>
            <a:ext cx="11319048" cy="1143000"/>
          </a:xfrm>
        </p:spPr>
        <p:txBody>
          <a:bodyPr>
            <a:normAutofit/>
          </a:bodyPr>
          <a:lstStyle/>
          <a:p>
            <a:r>
              <a:rPr lang="da-DK" dirty="0"/>
              <a:t>Dagsord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1"/>
          </p:nvPr>
        </p:nvSpPr>
        <p:spPr>
          <a:xfrm>
            <a:off x="666106" y="1472778"/>
            <a:ext cx="8022182" cy="4525963"/>
          </a:xfrm>
        </p:spPr>
        <p:txBody>
          <a:bodyPr numCol="1">
            <a:normAutofit/>
          </a:bodyPr>
          <a:lstStyle/>
          <a:p>
            <a:pPr marL="457200" lvl="0" indent="-457200">
              <a:lnSpc>
                <a:spcPct val="200000"/>
              </a:lnSpc>
              <a:buFont typeface="+mj-lt"/>
              <a:buAutoNum type="arabicPeriod"/>
              <a:tabLst>
                <a:tab pos="457200" algn="l"/>
              </a:tabLst>
            </a:pPr>
            <a:r>
              <a:rPr lang="da-DK" sz="1900" b="1" dirty="0"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I er komplekst – både teknisk, juridisk og organisatorisk</a:t>
            </a:r>
            <a:endParaRPr lang="da-DK" sz="19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457200" lvl="0" indent="-457200">
              <a:lnSpc>
                <a:spcPct val="200000"/>
              </a:lnSpc>
              <a:buFont typeface="+mj-lt"/>
              <a:buAutoNum type="arabicPeriod"/>
              <a:tabLst>
                <a:tab pos="457200" algn="l"/>
              </a:tabLst>
            </a:pPr>
            <a:r>
              <a:rPr lang="da-DK" sz="19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troduktion til AI-forordningen</a:t>
            </a:r>
          </a:p>
          <a:p>
            <a:pPr marL="457200" lvl="0" indent="-457200">
              <a:lnSpc>
                <a:spcPct val="200000"/>
              </a:lnSpc>
              <a:buFont typeface="+mj-lt"/>
              <a:buAutoNum type="arabicPeriod"/>
              <a:tabLst>
                <a:tab pos="457200" algn="l"/>
              </a:tabLst>
            </a:pPr>
            <a:r>
              <a:rPr lang="da-DK" sz="19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Deep </a:t>
            </a:r>
            <a:r>
              <a:rPr lang="da-DK" sz="1900" b="1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dive</a:t>
            </a:r>
            <a:r>
              <a:rPr lang="da-DK" sz="19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i artikel 4 og kravet om AI-færdigheder</a:t>
            </a:r>
          </a:p>
          <a:p>
            <a:pPr marL="457200" lvl="0" indent="-457200">
              <a:lnSpc>
                <a:spcPct val="200000"/>
              </a:lnSpc>
              <a:buFont typeface="+mj-lt"/>
              <a:buAutoNum type="arabicPeriod"/>
              <a:tabLst>
                <a:tab pos="457200" algn="l"/>
              </a:tabLst>
            </a:pPr>
            <a:r>
              <a:rPr lang="da-DK" sz="19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frunding og anbefalinger</a:t>
            </a:r>
            <a:endParaRPr lang="da-DK" sz="2200" b="1" dirty="0"/>
          </a:p>
          <a:p>
            <a:pPr marL="0" indent="0">
              <a:buNone/>
              <a:tabLst>
                <a:tab pos="4930775" algn="l"/>
                <a:tab pos="5026025" algn="l"/>
              </a:tabLst>
            </a:pPr>
            <a:endParaRPr lang="da-DK" sz="2200" b="1" dirty="0"/>
          </a:p>
          <a:p>
            <a:pPr marL="457200" indent="-457200">
              <a:buFont typeface="+mj-lt"/>
              <a:buAutoNum type="arabicPeriod"/>
              <a:tabLst>
                <a:tab pos="4930775" algn="l"/>
                <a:tab pos="5026025" algn="l"/>
              </a:tabLst>
            </a:pPr>
            <a:endParaRPr lang="da-DK" sz="2200" b="1" dirty="0"/>
          </a:p>
          <a:p>
            <a:pPr marL="457200" indent="-457200">
              <a:buFont typeface="+mj-lt"/>
              <a:buAutoNum type="arabicPeriod"/>
              <a:tabLst>
                <a:tab pos="4930775" algn="l"/>
                <a:tab pos="5026025" algn="l"/>
              </a:tabLst>
            </a:pPr>
            <a:endParaRPr lang="da-DK" sz="2200" b="1" dirty="0"/>
          </a:p>
          <a:p>
            <a:pPr marL="457200" indent="-457200">
              <a:buFont typeface="+mj-lt"/>
              <a:buAutoNum type="arabicPeriod"/>
              <a:tabLst>
                <a:tab pos="4930775" algn="l"/>
                <a:tab pos="5026025" algn="l"/>
              </a:tabLst>
            </a:pPr>
            <a:endParaRPr lang="da-DK" sz="2200" b="1" dirty="0"/>
          </a:p>
          <a:p>
            <a:pPr>
              <a:tabLst>
                <a:tab pos="4930775" algn="l"/>
                <a:tab pos="5026025" algn="l"/>
              </a:tabLst>
            </a:pPr>
            <a:endParaRPr lang="da-DK" sz="2000" dirty="0">
              <a:latin typeface="Calibri" panose="020F0502020204030204" pitchFamily="34" charset="0"/>
            </a:endParaRPr>
          </a:p>
          <a:p>
            <a:pPr marL="0" indent="0">
              <a:lnSpc>
                <a:spcPct val="200000"/>
              </a:lnSpc>
              <a:buNone/>
              <a:tabLst>
                <a:tab pos="4930775" algn="l"/>
                <a:tab pos="5026025" algn="l"/>
              </a:tabLst>
            </a:pPr>
            <a:endParaRPr lang="da-DK" sz="1800" b="1" dirty="0"/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  <a:tabLst>
                <a:tab pos="4930775" algn="l"/>
                <a:tab pos="5026025" algn="l"/>
              </a:tabLst>
            </a:pPr>
            <a:endParaRPr lang="da-DK" sz="1800" b="1" dirty="0"/>
          </a:p>
          <a:p>
            <a:pPr marL="857250" lvl="1" indent="-457200">
              <a:tabLst>
                <a:tab pos="4930775" algn="l"/>
                <a:tab pos="5026025" algn="l"/>
              </a:tabLst>
            </a:pPr>
            <a:endParaRPr lang="da-DK" sz="1800" dirty="0"/>
          </a:p>
          <a:p>
            <a:pPr marL="857250" lvl="1" indent="-457200">
              <a:tabLst>
                <a:tab pos="4930775" algn="l"/>
                <a:tab pos="5026025" algn="l"/>
              </a:tabLst>
            </a:pPr>
            <a:endParaRPr lang="da-DK" dirty="0"/>
          </a:p>
          <a:p>
            <a:pPr marL="857250" lvl="1" indent="-457200">
              <a:buFont typeface="+mj-lt"/>
              <a:buAutoNum type="arabicPeriod"/>
              <a:tabLst>
                <a:tab pos="4930775" algn="l"/>
                <a:tab pos="5026025" algn="l"/>
              </a:tabLst>
            </a:pPr>
            <a:endParaRPr lang="da-DK" sz="1600" b="1" dirty="0"/>
          </a:p>
          <a:p>
            <a:pPr marL="857250" lvl="1" indent="-457200">
              <a:buFont typeface="+mj-lt"/>
              <a:buAutoNum type="arabicPeriod"/>
              <a:tabLst>
                <a:tab pos="4930775" algn="l"/>
                <a:tab pos="5026025" algn="l"/>
              </a:tabLst>
            </a:pPr>
            <a:endParaRPr lang="da-DK" sz="1600" b="1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D8EFF8-9AFB-494C-BA2F-BDAFDF4420FE}" type="slidenum">
              <a:rPr lang="da-DK" smtClean="0"/>
              <a:pPr/>
              <a:t>2</a:t>
            </a:fld>
            <a:endParaRPr lang="da-DK" dirty="0"/>
          </a:p>
        </p:txBody>
      </p:sp>
      <p:cxnSp>
        <p:nvCxnSpPr>
          <p:cNvPr id="6" name="Lige forbindelse 5"/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30228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80EABA-C19E-17FB-9985-4E7B2C34C2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F9A695-DFF3-54E6-9A36-4AF865D349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da-DK" sz="4000" b="1" dirty="0">
                <a:ea typeface="Calibri" panose="020F0502020204030204" pitchFamily="34" charset="0"/>
                <a:cs typeface="Calibri" panose="020F0502020204030204" pitchFamily="34" charset="0"/>
              </a:rPr>
              <a:t>Hvilke risici?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3495FD79-9BBC-8CE7-1529-56036E014F8C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0212F8C2-12D5-153E-2135-F9661D403D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da-DK" b="1" dirty="0">
                <a:solidFill>
                  <a:srgbClr val="C00000"/>
                </a:solidFill>
                <a:effectLst/>
                <a:latin typeface="inherit"/>
              </a:rPr>
              <a:t>Krav om AI-færdigheder har </a:t>
            </a:r>
            <a:r>
              <a:rPr lang="da-DK" b="1" dirty="0" err="1">
                <a:solidFill>
                  <a:srgbClr val="C00000"/>
                </a:solidFill>
                <a:latin typeface="inherit"/>
              </a:rPr>
              <a:t>bl.a.</a:t>
            </a:r>
            <a:r>
              <a:rPr lang="da-DK" b="1" dirty="0" err="1">
                <a:solidFill>
                  <a:srgbClr val="C00000"/>
                </a:solidFill>
                <a:effectLst/>
                <a:latin typeface="inherit"/>
              </a:rPr>
              <a:t>til</a:t>
            </a:r>
            <a:r>
              <a:rPr lang="da-DK" b="1" dirty="0">
                <a:solidFill>
                  <a:srgbClr val="C00000"/>
                </a:solidFill>
                <a:effectLst/>
                <a:latin typeface="inherit"/>
              </a:rPr>
              <a:t> formål at minimere risici/skader relateret til:</a:t>
            </a:r>
          </a:p>
          <a:p>
            <a:pPr>
              <a:spcBef>
                <a:spcPts val="600"/>
              </a:spcBef>
            </a:pP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Sundhed</a:t>
            </a:r>
          </a:p>
          <a:p>
            <a:pPr>
              <a:spcBef>
                <a:spcPts val="600"/>
              </a:spcBef>
            </a:pPr>
            <a:endParaRPr lang="da-DK" sz="2000" b="0" dirty="0">
              <a:solidFill>
                <a:srgbClr val="000000"/>
              </a:solidFill>
              <a:effectLst/>
              <a:latin typeface="inherit"/>
            </a:endParaRPr>
          </a:p>
          <a:p>
            <a:pPr>
              <a:spcBef>
                <a:spcPts val="600"/>
              </a:spcBef>
            </a:pP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Sikkerhed, inkl. </a:t>
            </a:r>
            <a:r>
              <a:rPr lang="da-DK" sz="2000" b="0" dirty="0" err="1">
                <a:solidFill>
                  <a:srgbClr val="000000"/>
                </a:solidFill>
                <a:effectLst/>
                <a:latin typeface="inherit"/>
              </a:rPr>
              <a:t>cybersikkerhed</a:t>
            </a: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 </a:t>
            </a:r>
          </a:p>
          <a:p>
            <a:pPr>
              <a:spcBef>
                <a:spcPts val="600"/>
              </a:spcBef>
            </a:pPr>
            <a:endParaRPr lang="da-DK" sz="2000" b="0" dirty="0">
              <a:solidFill>
                <a:srgbClr val="000000"/>
              </a:solidFill>
              <a:effectLst/>
              <a:latin typeface="inherit"/>
            </a:endParaRPr>
          </a:p>
          <a:p>
            <a:pPr>
              <a:spcBef>
                <a:spcPts val="600"/>
              </a:spcBef>
            </a:pP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Grundlæggende rettigheder som defineret i EU’s charter</a:t>
            </a:r>
          </a:p>
          <a:p>
            <a:pPr>
              <a:spcBef>
                <a:spcPts val="600"/>
              </a:spcBef>
            </a:pPr>
            <a:endParaRPr lang="da-DK" sz="2000" b="0" dirty="0">
              <a:solidFill>
                <a:srgbClr val="000000"/>
              </a:solidFill>
              <a:effectLst/>
              <a:latin typeface="inherit"/>
            </a:endParaRPr>
          </a:p>
          <a:p>
            <a:pPr>
              <a:spcBef>
                <a:spcPts val="600"/>
              </a:spcBef>
            </a:pP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Manglende overholdelse af krav i AI </a:t>
            </a:r>
            <a:r>
              <a:rPr lang="da-DK" sz="2000" b="0" dirty="0" err="1">
                <a:solidFill>
                  <a:srgbClr val="000000"/>
                </a:solidFill>
                <a:effectLst/>
                <a:latin typeface="inherit"/>
              </a:rPr>
              <a:t>Act</a:t>
            </a: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 eller anden regulering</a:t>
            </a:r>
          </a:p>
          <a:p>
            <a:pPr>
              <a:spcBef>
                <a:spcPts val="600"/>
              </a:spcBef>
            </a:pPr>
            <a:endParaRPr lang="da-DK" sz="1700" b="0" dirty="0">
              <a:solidFill>
                <a:srgbClr val="000000"/>
              </a:solidFill>
              <a:effectLst/>
              <a:latin typeface="inherit"/>
            </a:endParaRPr>
          </a:p>
          <a:p>
            <a:pPr marL="0" indent="0">
              <a:spcBef>
                <a:spcPts val="600"/>
              </a:spcBef>
              <a:buNone/>
            </a:pPr>
            <a:endParaRPr lang="da-DK" sz="1700" b="0" dirty="0">
              <a:solidFill>
                <a:srgbClr val="000000"/>
              </a:solidFill>
              <a:effectLst/>
              <a:latin typeface="inherit"/>
            </a:endParaRPr>
          </a:p>
          <a:p>
            <a:pPr marL="0" indent="0">
              <a:spcBef>
                <a:spcPts val="600"/>
              </a:spcBef>
              <a:buNone/>
            </a:pPr>
            <a:endParaRPr lang="da-DK" sz="1700" b="0" dirty="0">
              <a:solidFill>
                <a:srgbClr val="000000"/>
              </a:solidFill>
              <a:effectLst/>
              <a:latin typeface="inherit"/>
            </a:endParaRPr>
          </a:p>
          <a:p>
            <a:pPr marL="0" indent="0">
              <a:buNone/>
            </a:pPr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da-DK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38314342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00C1DD-DBAD-1282-B4DB-2D368B128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292D5C-47B6-E3C5-7732-746972178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da-DK" sz="4000" b="1" dirty="0">
                <a:ea typeface="Calibri" panose="020F0502020204030204" pitchFamily="34" charset="0"/>
                <a:cs typeface="Calibri" panose="020F0502020204030204" pitchFamily="34" charset="0"/>
              </a:rPr>
              <a:t>Hvilke risici?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5E919C3D-1974-D07A-0E5B-3B5193B18557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85F33EDA-3A97-C496-D705-4CEC567080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da-DK" b="1" dirty="0">
                <a:solidFill>
                  <a:srgbClr val="C00000"/>
                </a:solidFill>
                <a:effectLst/>
                <a:latin typeface="inherit"/>
              </a:rPr>
              <a:t>Konkrete eksempler på risici</a:t>
            </a:r>
          </a:p>
          <a:p>
            <a:pPr>
              <a:spcBef>
                <a:spcPts val="600"/>
              </a:spcBef>
            </a:pP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Hallucinationer</a:t>
            </a:r>
          </a:p>
          <a:p>
            <a:pPr>
              <a:spcBef>
                <a:spcPts val="600"/>
              </a:spcBef>
            </a:pPr>
            <a:endParaRPr lang="da-DK" sz="2000" b="0" dirty="0">
              <a:solidFill>
                <a:srgbClr val="000000"/>
              </a:solidFill>
              <a:effectLst/>
              <a:latin typeface="inherit"/>
            </a:endParaRPr>
          </a:p>
          <a:p>
            <a:pPr>
              <a:spcBef>
                <a:spcPts val="600"/>
              </a:spcBef>
            </a:pP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Målrettede hackerangreb, fx ”</a:t>
            </a:r>
            <a:r>
              <a:rPr lang="da-DK" sz="2000" b="0" i="1" dirty="0">
                <a:solidFill>
                  <a:srgbClr val="000000"/>
                </a:solidFill>
                <a:effectLst/>
                <a:latin typeface="inherit"/>
              </a:rPr>
              <a:t>Model Inversion Attacks</a:t>
            </a: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”</a:t>
            </a:r>
          </a:p>
          <a:p>
            <a:pPr>
              <a:spcBef>
                <a:spcPts val="600"/>
              </a:spcBef>
            </a:pPr>
            <a:endParaRPr lang="da-DK" sz="2000" b="0" dirty="0">
              <a:solidFill>
                <a:srgbClr val="000000"/>
              </a:solidFill>
              <a:effectLst/>
              <a:latin typeface="inherit"/>
            </a:endParaRPr>
          </a:p>
          <a:p>
            <a:pPr>
              <a:spcBef>
                <a:spcPts val="600"/>
              </a:spcBef>
            </a:pP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Utilsigtet deling af fortrolige oplysninger fx forretningshemmeligheder </a:t>
            </a:r>
          </a:p>
          <a:p>
            <a:pPr>
              <a:spcBef>
                <a:spcPts val="600"/>
              </a:spcBef>
            </a:pPr>
            <a:endParaRPr lang="da-DK" sz="2000" dirty="0">
              <a:solidFill>
                <a:srgbClr val="000000"/>
              </a:solidFill>
              <a:latin typeface="inherit"/>
            </a:endParaRPr>
          </a:p>
          <a:p>
            <a:pPr>
              <a:spcBef>
                <a:spcPts val="600"/>
              </a:spcBef>
            </a:pP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Krænkelse af andres rettigheder, fx ophavsret til billeder eller lyd</a:t>
            </a:r>
          </a:p>
          <a:p>
            <a:pPr>
              <a:spcBef>
                <a:spcPts val="600"/>
              </a:spcBef>
            </a:pPr>
            <a:endParaRPr lang="da-DK" sz="2000" b="0" dirty="0">
              <a:solidFill>
                <a:srgbClr val="000000"/>
              </a:solidFill>
              <a:effectLst/>
              <a:latin typeface="inherit"/>
            </a:endParaRPr>
          </a:p>
          <a:p>
            <a:pPr>
              <a:spcBef>
                <a:spcPts val="600"/>
              </a:spcBef>
            </a:pPr>
            <a:r>
              <a:rPr lang="da-DK" sz="2000" b="0" dirty="0">
                <a:solidFill>
                  <a:srgbClr val="000000"/>
                </a:solidFill>
                <a:effectLst/>
                <a:latin typeface="inherit"/>
              </a:rPr>
              <a:t>Overtrædelse af anden lovgivning, fx GDPR </a:t>
            </a:r>
            <a:r>
              <a:rPr lang="da-DK" sz="2000" b="0">
                <a:solidFill>
                  <a:srgbClr val="000000"/>
                </a:solidFill>
                <a:effectLst/>
                <a:latin typeface="inherit"/>
              </a:rPr>
              <a:t>eller forvaltningsregler</a:t>
            </a:r>
            <a:endParaRPr lang="da-DK" sz="1700" b="0" dirty="0">
              <a:solidFill>
                <a:srgbClr val="000000"/>
              </a:solidFill>
              <a:effectLst/>
              <a:latin typeface="inherit"/>
            </a:endParaRPr>
          </a:p>
          <a:p>
            <a:pPr marL="0" indent="0">
              <a:spcBef>
                <a:spcPts val="600"/>
              </a:spcBef>
              <a:buNone/>
            </a:pPr>
            <a:endParaRPr lang="da-DK" sz="1700" b="0" dirty="0">
              <a:solidFill>
                <a:srgbClr val="000000"/>
              </a:solidFill>
              <a:effectLst/>
              <a:latin typeface="inherit"/>
            </a:endParaRPr>
          </a:p>
          <a:p>
            <a:pPr marL="0" indent="0">
              <a:spcBef>
                <a:spcPts val="600"/>
              </a:spcBef>
              <a:buNone/>
            </a:pPr>
            <a:endParaRPr lang="da-DK" sz="1700" b="0" dirty="0">
              <a:solidFill>
                <a:srgbClr val="000000"/>
              </a:solidFill>
              <a:effectLst/>
              <a:latin typeface="inherit"/>
            </a:endParaRPr>
          </a:p>
          <a:p>
            <a:pPr marL="0" indent="0">
              <a:buNone/>
            </a:pPr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da-DK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17220038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2DA7D2-8C4F-2475-E2BC-C95C0E05D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F073CB-B024-3D1C-956B-7DF7981A7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399" y="2420888"/>
            <a:ext cx="10363200" cy="1362075"/>
          </a:xfrm>
        </p:spPr>
        <p:txBody>
          <a:bodyPr>
            <a:normAutofit/>
          </a:bodyPr>
          <a:lstStyle/>
          <a:p>
            <a:pPr algn="ctr">
              <a:tabLst>
                <a:tab pos="4930775" algn="l"/>
                <a:tab pos="5026025" algn="l"/>
              </a:tabLst>
            </a:pPr>
            <a:r>
              <a:rPr lang="da" sz="4000" b="1" dirty="0"/>
              <a:t>Afrunding og anbefalinger</a:t>
            </a:r>
            <a:endParaRPr lang="da-DK" sz="4000" b="1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5EDF0F3-BBBE-98B4-410B-C5B9372038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8EFF8-9AFB-494C-BA2F-BDAFDF4420FE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E6D1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E6D1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3FBF84E2-E5F1-A6D9-9733-BC8CB4D7D8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3499" y="4144595"/>
            <a:ext cx="905001" cy="257211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1A607F05-332F-0CE7-985E-79EDDB33BF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3499" y="1217245"/>
            <a:ext cx="905001" cy="257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3788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BF5C1-BE35-3761-D8C0-98AA66A6C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F4693A-91A6-2665-D8BD-7287E10B7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da-DK" dirty="0">
                <a:ea typeface="Calibri" panose="020F0502020204030204" pitchFamily="34" charset="0"/>
                <a:cs typeface="Calibri" panose="020F0502020204030204" pitchFamily="34" charset="0"/>
              </a:rPr>
              <a:t>Opsamling</a:t>
            </a:r>
            <a:endParaRPr lang="da-DK" sz="4000" b="1" dirty="0"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3DDD7157-E55F-A94F-190E-2003FCDACD6C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A52F8430-0547-89E4-AECB-CF802E0DDD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spcBef>
                <a:spcPts val="600"/>
              </a:spcBef>
            </a:pPr>
            <a:r>
              <a:rPr lang="da-DK" sz="2200" dirty="0">
                <a:solidFill>
                  <a:srgbClr val="000000"/>
                </a:solidFill>
                <a:latin typeface="inherit"/>
                <a:ea typeface="Calibri" panose="020F0502020204030204" pitchFamily="34" charset="0"/>
                <a:cs typeface="Calibri" panose="020F0502020204030204" pitchFamily="34" charset="0"/>
              </a:rPr>
              <a:t>Kravet om AI-færdigheder handler både om muligheder og trusler/risici.</a:t>
            </a:r>
          </a:p>
          <a:p>
            <a:pPr>
              <a:spcBef>
                <a:spcPts val="600"/>
              </a:spcBef>
            </a:pPr>
            <a:endParaRPr lang="da-DK" sz="2200" dirty="0">
              <a:solidFill>
                <a:srgbClr val="000000"/>
              </a:solidFill>
              <a:latin typeface="inheri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r>
              <a:rPr lang="da-DK" sz="2200" dirty="0">
                <a:solidFill>
                  <a:srgbClr val="000000"/>
                </a:solidFill>
                <a:latin typeface="inherit"/>
                <a:ea typeface="Calibri" panose="020F0502020204030204" pitchFamily="34" charset="0"/>
                <a:cs typeface="Calibri" panose="020F0502020204030204" pitchFamily="34" charset="0"/>
              </a:rPr>
              <a:t>Dokumentation for efterlevelse af kravet om AI-færdigheder, eller mangel på samme, vil kunne blive relevant i tilfælde af en sag om ansvar relateret til en AI-løsning (bøder, erstatningsansvar mv).</a:t>
            </a:r>
          </a:p>
          <a:p>
            <a:pPr>
              <a:spcBef>
                <a:spcPts val="600"/>
              </a:spcBef>
            </a:pPr>
            <a:endParaRPr lang="da-DK" sz="2200" dirty="0">
              <a:solidFill>
                <a:srgbClr val="000000"/>
              </a:solidFill>
              <a:latin typeface="inheri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r>
              <a:rPr lang="da-DK" sz="2200" dirty="0">
                <a:solidFill>
                  <a:srgbClr val="000000"/>
                </a:solidFill>
                <a:latin typeface="inherit"/>
                <a:ea typeface="Calibri" panose="020F0502020204030204" pitchFamily="34" charset="0"/>
                <a:cs typeface="Calibri" panose="020F0502020204030204" pitchFamily="34" charset="0"/>
              </a:rPr>
              <a:t>Artikel 4 er bl.a. sat ind for sikre, at man ved indkøb, udvikling og brug af AI-løsninger tænker relevante juridiske og etiske aspekter ind, herunder kravene i resten af AI </a:t>
            </a:r>
            <a:r>
              <a:rPr lang="da-DK" sz="2200" dirty="0" err="1">
                <a:solidFill>
                  <a:srgbClr val="000000"/>
                </a:solidFill>
                <a:latin typeface="inherit"/>
                <a:ea typeface="Calibri" panose="020F0502020204030204" pitchFamily="34" charset="0"/>
                <a:cs typeface="Calibri" panose="020F0502020204030204" pitchFamily="34" charset="0"/>
              </a:rPr>
              <a:t>Act</a:t>
            </a:r>
            <a:r>
              <a:rPr lang="da-DK" sz="2200" dirty="0">
                <a:solidFill>
                  <a:srgbClr val="000000"/>
                </a:solidFill>
                <a:latin typeface="inherit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>
              <a:spcBef>
                <a:spcPts val="600"/>
              </a:spcBef>
            </a:pPr>
            <a:endParaRPr lang="da-DK" sz="2200" dirty="0">
              <a:solidFill>
                <a:srgbClr val="000000"/>
              </a:solidFill>
              <a:latin typeface="inheri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r>
              <a:rPr lang="da-DK" sz="2200" dirty="0">
                <a:solidFill>
                  <a:srgbClr val="000000"/>
                </a:solidFill>
                <a:latin typeface="inherit"/>
                <a:ea typeface="Calibri" panose="020F0502020204030204" pitchFamily="34" charset="0"/>
                <a:cs typeface="Calibri" panose="020F0502020204030204" pitchFamily="34" charset="0"/>
              </a:rPr>
              <a:t>Der er stor forskel på, hvem der skal vide hvad. Jo større organisation, jo større krav til omfang og målretning af AI-færdighedsprogrammet (se næste slides).</a:t>
            </a:r>
          </a:p>
          <a:p>
            <a:pPr>
              <a:spcBef>
                <a:spcPts val="600"/>
              </a:spcBef>
            </a:pPr>
            <a:endParaRPr lang="da-DK" sz="2200" dirty="0">
              <a:solidFill>
                <a:srgbClr val="000000"/>
              </a:solidFill>
              <a:latin typeface="inheri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da-DK" sz="2200" dirty="0">
              <a:solidFill>
                <a:srgbClr val="000000"/>
              </a:solidFill>
              <a:latin typeface="inheri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US" sz="1000" i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a-DK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21606119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D2F320-1046-E74F-B878-8307B45A0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4 trin (ifølge DIGS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C08255-F385-0E6C-CC46-2BE7D6A0ED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64373-3176-3B80-7B32-5142FCFD84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D8EFF8-9AFB-494C-BA2F-BDAFDF4420FE}" type="slidenum">
              <a:rPr lang="da-DK" smtClean="0"/>
              <a:pPr/>
              <a:t>24</a:t>
            </a:fld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B0DD27-7935-C0A2-DE25-72256C8B40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319" y="1370015"/>
            <a:ext cx="7887352" cy="4525963"/>
          </a:xfrm>
          <a:prstGeom prst="rect">
            <a:avLst/>
          </a:prstGeom>
          <a:ln>
            <a:solidFill>
              <a:srgbClr val="3F1A2B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A941A25-E53B-8BEC-EA6A-7AA7F10AEA41}"/>
              </a:ext>
            </a:extLst>
          </p:cNvPr>
          <p:cNvSpPr txBox="1"/>
          <p:nvPr/>
        </p:nvSpPr>
        <p:spPr>
          <a:xfrm>
            <a:off x="148902" y="6077247"/>
            <a:ext cx="97635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Kilde: </a:t>
            </a:r>
            <a:r>
              <a:rPr lang="da-DK" sz="14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igst.dk/tilsyn/ai-forordningen/reglerne-i-ai-forordningen/ai-faerdigheder/#accordion-3-inspiration-og-eksempler</a:t>
            </a:r>
            <a:r>
              <a:rPr lang="da-DK" sz="14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073EB4-10C5-AC60-9C5B-DC1FBF865DAD}"/>
              </a:ext>
            </a:extLst>
          </p:cNvPr>
          <p:cNvSpPr/>
          <p:nvPr/>
        </p:nvSpPr>
        <p:spPr>
          <a:xfrm>
            <a:off x="7985595" y="1600201"/>
            <a:ext cx="3986213" cy="4028295"/>
          </a:xfrm>
          <a:prstGeom prst="rect">
            <a:avLst/>
          </a:prstGeom>
          <a:solidFill>
            <a:srgbClr val="3F1A2B"/>
          </a:solidFill>
          <a:ln>
            <a:solidFill>
              <a:srgbClr val="F5F1E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i="1" dirty="0"/>
              <a:t>3.2. Eksempler på typer af organisatoriske tiltag, for at sikre AI-færdigheder:</a:t>
            </a:r>
          </a:p>
          <a:p>
            <a:pPr algn="ctr"/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1" i="1" dirty="0"/>
              <a:t>E-læringskurser for medarbejdere </a:t>
            </a:r>
            <a:r>
              <a:rPr lang="da-DK" i="1" dirty="0"/>
              <a:t>og </a:t>
            </a:r>
            <a:r>
              <a:rPr lang="da-DK" b="1" i="1" dirty="0"/>
              <a:t>ledere</a:t>
            </a:r>
            <a:r>
              <a:rPr lang="da-DK" i="1" dirty="0"/>
              <a:t>, der målretter forskellige typer af færdigheder og niveau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i="1" dirty="0"/>
              <a:t>Lokale AI-fagfællesska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1" i="1" dirty="0"/>
              <a:t>AI-færdighedsambassadører </a:t>
            </a:r>
            <a:r>
              <a:rPr lang="da-DK" i="1" dirty="0"/>
              <a:t>inden for organisatio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1" i="1" dirty="0"/>
              <a:t>E-mails, nyhedsbreve </a:t>
            </a:r>
            <a:r>
              <a:rPr lang="da-DK" i="1" dirty="0"/>
              <a:t>og </a:t>
            </a:r>
            <a:r>
              <a:rPr lang="da-DK" b="1" i="1" dirty="0"/>
              <a:t>anden skriftlig kommunikation</a:t>
            </a:r>
            <a:r>
              <a:rPr lang="da-DK" i="1" dirty="0"/>
              <a:t> om AI-færdighe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1" i="1" dirty="0" err="1"/>
              <a:t>Awarenesskampagner</a:t>
            </a:r>
            <a:endParaRPr lang="da-DK" b="1" i="1" dirty="0"/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253FB89C-87E3-C5E5-4E8A-3E7B942C8E57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79522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33589-C34E-51CF-3160-1888685529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ktangel 34">
            <a:extLst>
              <a:ext uri="{FF2B5EF4-FFF2-40B4-BE49-F238E27FC236}">
                <a16:creationId xmlns:a16="http://schemas.microsoft.com/office/drawing/2014/main" id="{E9CE19DB-20A6-52D6-2E56-095AD1DBFC4C}"/>
              </a:ext>
            </a:extLst>
          </p:cNvPr>
          <p:cNvSpPr/>
          <p:nvPr/>
        </p:nvSpPr>
        <p:spPr>
          <a:xfrm>
            <a:off x="6805061" y="-19250"/>
            <a:ext cx="5377314" cy="605429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396EE4-FD3F-825B-B9C7-2434F8E4A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knisk og juridisk vid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4BF43063-F6A9-48C7-3C4D-6A2D5D4091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600201"/>
            <a:ext cx="5725905" cy="4525963"/>
          </a:xfrm>
        </p:spPr>
        <p:txBody>
          <a:bodyPr/>
          <a:lstStyle/>
          <a:p>
            <a:r>
              <a:rPr lang="da-DK" sz="2000" b="1" dirty="0"/>
              <a:t>Teknisk viden</a:t>
            </a:r>
          </a:p>
          <a:p>
            <a:pPr lvl="1"/>
            <a:r>
              <a:rPr lang="da-DK" sz="1700" dirty="0"/>
              <a:t>Fx om konkrete løsninger, </a:t>
            </a:r>
            <a:r>
              <a:rPr lang="da-DK" sz="1700" dirty="0" err="1"/>
              <a:t>usecases</a:t>
            </a:r>
            <a:r>
              <a:rPr lang="da-DK" sz="1700" dirty="0"/>
              <a:t>, integration til øvrige IT-systemer, bagvedliggende modeller, datagrundlag, </a:t>
            </a:r>
            <a:r>
              <a:rPr lang="da-DK" sz="1700" dirty="0" err="1"/>
              <a:t>cybersikkerhed</a:t>
            </a:r>
            <a:r>
              <a:rPr lang="da-DK" sz="1700" dirty="0"/>
              <a:t>, potentielle bias mv. </a:t>
            </a:r>
          </a:p>
          <a:p>
            <a:endParaRPr lang="da-DK" dirty="0"/>
          </a:p>
          <a:p>
            <a:r>
              <a:rPr lang="da-DK" sz="2000" b="1" dirty="0"/>
              <a:t>Juridisk viden</a:t>
            </a:r>
          </a:p>
          <a:p>
            <a:pPr lvl="1"/>
            <a:r>
              <a:rPr lang="da-DK" sz="1700" dirty="0"/>
              <a:t>Fx om AI </a:t>
            </a:r>
            <a:r>
              <a:rPr lang="da-DK" sz="1700" dirty="0" err="1"/>
              <a:t>Act</a:t>
            </a:r>
            <a:r>
              <a:rPr lang="da-DK" sz="1700" dirty="0"/>
              <a:t>, GDPR, sektorregulering, relevante standarder, officielle vejledninger, kontraktmæssige krav mv</a:t>
            </a:r>
            <a:endParaRPr lang="da" sz="1700" dirty="0"/>
          </a:p>
          <a:p>
            <a:pPr lvl="1"/>
            <a:endParaRPr lang="da-DK" dirty="0"/>
          </a:p>
          <a:p>
            <a:pPr marL="342900" lvl="1" indent="-342900">
              <a:buClr>
                <a:srgbClr val="D31245"/>
              </a:buClr>
              <a:buFont typeface="Wingdings" panose="05000000000000000000" pitchFamily="2" charset="2"/>
              <a:buChar char="§"/>
            </a:pPr>
            <a:r>
              <a:rPr lang="da-DK" b="1" dirty="0"/>
              <a:t>Brobygning</a:t>
            </a:r>
          </a:p>
          <a:p>
            <a:pPr lvl="1"/>
            <a:r>
              <a:rPr lang="da-DK" sz="1500" dirty="0"/>
              <a:t>Vi skal, også i relation til AI, væk fra silo-tilgangen!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E60857E-193F-4731-6B25-04A3D6CC34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8EFF8-9AFB-494C-BA2F-BDAFDF4420FE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E6D1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E6D1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5" name="Lige pilforbindelse 24">
            <a:extLst>
              <a:ext uri="{FF2B5EF4-FFF2-40B4-BE49-F238E27FC236}">
                <a16:creationId xmlns:a16="http://schemas.microsoft.com/office/drawing/2014/main" id="{D9612B04-E383-E057-100A-D8284E00C1EA}"/>
              </a:ext>
            </a:extLst>
          </p:cNvPr>
          <p:cNvCxnSpPr>
            <a:cxnSpLocks/>
          </p:cNvCxnSpPr>
          <p:nvPr/>
        </p:nvCxnSpPr>
        <p:spPr>
          <a:xfrm flipV="1">
            <a:off x="8435316" y="1508468"/>
            <a:ext cx="0" cy="27666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Lige pilforbindelse 25">
            <a:extLst>
              <a:ext uri="{FF2B5EF4-FFF2-40B4-BE49-F238E27FC236}">
                <a16:creationId xmlns:a16="http://schemas.microsoft.com/office/drawing/2014/main" id="{A3797998-6998-FDF5-CB33-9ACF17AC0D62}"/>
              </a:ext>
            </a:extLst>
          </p:cNvPr>
          <p:cNvCxnSpPr>
            <a:cxnSpLocks/>
          </p:cNvCxnSpPr>
          <p:nvPr/>
        </p:nvCxnSpPr>
        <p:spPr>
          <a:xfrm>
            <a:off x="8435316" y="4264022"/>
            <a:ext cx="302433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kstfelt 26">
            <a:extLst>
              <a:ext uri="{FF2B5EF4-FFF2-40B4-BE49-F238E27FC236}">
                <a16:creationId xmlns:a16="http://schemas.microsoft.com/office/drawing/2014/main" id="{8C2BE9C9-0B4A-D40C-D2AC-650A424D1988}"/>
              </a:ext>
            </a:extLst>
          </p:cNvPr>
          <p:cNvSpPr txBox="1"/>
          <p:nvPr/>
        </p:nvSpPr>
        <p:spPr>
          <a:xfrm>
            <a:off x="6995156" y="2336746"/>
            <a:ext cx="15594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knisk viden</a:t>
            </a: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B33F3EDC-70AB-7C13-47AE-23F132337AF3}"/>
              </a:ext>
            </a:extLst>
          </p:cNvPr>
          <p:cNvSpPr txBox="1"/>
          <p:nvPr/>
        </p:nvSpPr>
        <p:spPr>
          <a:xfrm>
            <a:off x="9455770" y="4275123"/>
            <a:ext cx="15594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ridisk viden</a:t>
            </a:r>
          </a:p>
        </p:txBody>
      </p:sp>
      <p:sp>
        <p:nvSpPr>
          <p:cNvPr id="29" name="Tekstfelt 28">
            <a:extLst>
              <a:ext uri="{FF2B5EF4-FFF2-40B4-BE49-F238E27FC236}">
                <a16:creationId xmlns:a16="http://schemas.microsoft.com/office/drawing/2014/main" id="{6CB5FE56-6D15-6D6E-CFD9-590B3DA0D884}"/>
              </a:ext>
            </a:extLst>
          </p:cNvPr>
          <p:cNvSpPr txBox="1"/>
          <p:nvPr/>
        </p:nvSpPr>
        <p:spPr>
          <a:xfrm>
            <a:off x="9856600" y="1810145"/>
            <a:ext cx="112338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" sz="150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“AI</a:t>
            </a:r>
            <a:r>
              <a:rPr kumimoji="0" lang="da" sz="15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da" sz="150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officer”</a:t>
            </a:r>
            <a:endParaRPr kumimoji="0" lang="da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0B80B9CB-4484-78D1-3EEF-DDF0EEA1BB7F}"/>
              </a:ext>
            </a:extLst>
          </p:cNvPr>
          <p:cNvSpPr txBox="1"/>
          <p:nvPr/>
        </p:nvSpPr>
        <p:spPr>
          <a:xfrm>
            <a:off x="10216698" y="3087405"/>
            <a:ext cx="189435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" sz="150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Intern jurist</a:t>
            </a:r>
            <a:r>
              <a:rPr kumimoji="0" lang="da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ekstern juridisk rådgiver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A2AA7894-00E2-86CC-D4CF-A545B880E707}"/>
              </a:ext>
            </a:extLst>
          </p:cNvPr>
          <p:cNvSpPr txBox="1"/>
          <p:nvPr/>
        </p:nvSpPr>
        <p:spPr>
          <a:xfrm>
            <a:off x="8823023" y="2441995"/>
            <a:ext cx="136887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-indkøbere</a:t>
            </a:r>
            <a:endParaRPr kumimoji="0" lang="da-DK" sz="1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951699FB-5B31-8DE3-44E7-78F4AB6E556A}"/>
              </a:ext>
            </a:extLst>
          </p:cNvPr>
          <p:cNvSpPr txBox="1"/>
          <p:nvPr/>
        </p:nvSpPr>
        <p:spPr>
          <a:xfrm>
            <a:off x="9166251" y="1508468"/>
            <a:ext cx="136887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-udviklere</a:t>
            </a:r>
          </a:p>
        </p:txBody>
      </p:sp>
      <p:pic>
        <p:nvPicPr>
          <p:cNvPr id="36" name="Billede 35">
            <a:extLst>
              <a:ext uri="{FF2B5EF4-FFF2-40B4-BE49-F238E27FC236}">
                <a16:creationId xmlns:a16="http://schemas.microsoft.com/office/drawing/2014/main" id="{5A6C48E4-3B14-B48B-D83A-7FE82AF42B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975" y="1118542"/>
            <a:ext cx="905001" cy="257211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B1238264-3825-3F74-F474-1A2452B101F6}"/>
              </a:ext>
            </a:extLst>
          </p:cNvPr>
          <p:cNvSpPr txBox="1"/>
          <p:nvPr/>
        </p:nvSpPr>
        <p:spPr>
          <a:xfrm>
            <a:off x="9493718" y="2782396"/>
            <a:ext cx="136887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liance</a:t>
            </a:r>
            <a:endParaRPr kumimoji="0" lang="da-DK" sz="1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0CEA0027-2E9F-AF84-00E6-EB95745341CA}"/>
              </a:ext>
            </a:extLst>
          </p:cNvPr>
          <p:cNvSpPr txBox="1"/>
          <p:nvPr/>
        </p:nvSpPr>
        <p:spPr>
          <a:xfrm>
            <a:off x="9191038" y="3319817"/>
            <a:ext cx="136887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" sz="150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Ledelse</a:t>
            </a:r>
            <a:endParaRPr kumimoji="0" lang="da-DK" sz="1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3BDE5C99-62E6-B562-D3F4-8553DDE6291C}"/>
              </a:ext>
            </a:extLst>
          </p:cNvPr>
          <p:cNvSpPr txBox="1"/>
          <p:nvPr/>
        </p:nvSpPr>
        <p:spPr>
          <a:xfrm>
            <a:off x="9292580" y="2125610"/>
            <a:ext cx="136887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" sz="150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IT-afdeling</a:t>
            </a:r>
            <a:endParaRPr kumimoji="0" lang="da-DK" sz="1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C17F35CE-A563-65AE-8AF0-217DBFB98B91}"/>
              </a:ext>
            </a:extLst>
          </p:cNvPr>
          <p:cNvSpPr txBox="1"/>
          <p:nvPr/>
        </p:nvSpPr>
        <p:spPr>
          <a:xfrm>
            <a:off x="8678040" y="3698439"/>
            <a:ext cx="207857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" sz="150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I-brugere</a:t>
            </a:r>
            <a:endParaRPr kumimoji="0" lang="da-DK" sz="15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59026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FB9F3A-94F2-EF5D-7C6A-C4E4DA83D0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CE3C69-D736-FCF0-A791-88745A06B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just"/>
            <a:r>
              <a:rPr lang="da-DK" dirty="0"/>
              <a:t>Teknisk og juridisk viden (eksempel!)</a:t>
            </a:r>
            <a:endParaRPr lang="da-DK" sz="4000" b="1" dirty="0"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A28D6555-2B87-3DDD-DED3-ADB2B379DEE6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457A2957-D375-E4F3-4ABF-1581D18C12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1"/>
            <a:endParaRPr lang="en-US" sz="2500" i="1" dirty="0"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a-DK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da-DK" sz="1500" dirty="0"/>
          </a:p>
        </p:txBody>
      </p:sp>
      <p:graphicFrame>
        <p:nvGraphicFramePr>
          <p:cNvPr id="3" name="Pladsholder til indhold 4">
            <a:extLst>
              <a:ext uri="{FF2B5EF4-FFF2-40B4-BE49-F238E27FC236}">
                <a16:creationId xmlns:a16="http://schemas.microsoft.com/office/drawing/2014/main" id="{EEB97AB4-7EEF-5E70-89CA-056DAFF4993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2477879"/>
              </p:ext>
            </p:extLst>
          </p:nvPr>
        </p:nvGraphicFramePr>
        <p:xfrm>
          <a:off x="0" y="1484785"/>
          <a:ext cx="12192000" cy="53732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41393">
                  <a:extLst>
                    <a:ext uri="{9D8B030D-6E8A-4147-A177-3AD203B41FA5}">
                      <a16:colId xmlns:a16="http://schemas.microsoft.com/office/drawing/2014/main" val="3192476028"/>
                    </a:ext>
                  </a:extLst>
                </a:gridCol>
                <a:gridCol w="5630871">
                  <a:extLst>
                    <a:ext uri="{9D8B030D-6E8A-4147-A177-3AD203B41FA5}">
                      <a16:colId xmlns:a16="http://schemas.microsoft.com/office/drawing/2014/main" val="3319203960"/>
                    </a:ext>
                  </a:extLst>
                </a:gridCol>
                <a:gridCol w="3719736">
                  <a:extLst>
                    <a:ext uri="{9D8B030D-6E8A-4147-A177-3AD203B41FA5}">
                      <a16:colId xmlns:a16="http://schemas.microsoft.com/office/drawing/2014/main" val="1852364242"/>
                    </a:ext>
                  </a:extLst>
                </a:gridCol>
              </a:tblGrid>
              <a:tr h="290847">
                <a:tc>
                  <a:txBody>
                    <a:bodyPr/>
                    <a:lstStyle/>
                    <a:p>
                      <a:pPr algn="ctr"/>
                      <a:r>
                        <a:rPr lang="da-DK" sz="1800" dirty="0">
                          <a:effectLst/>
                        </a:rPr>
                        <a:t>Stilling</a:t>
                      </a:r>
                      <a:endParaRPr lang="da-DK" sz="1800" b="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800" dirty="0">
                          <a:effectLst/>
                        </a:rPr>
                        <a:t>Ansvar (eksempler)</a:t>
                      </a: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800" dirty="0">
                          <a:effectLst/>
                        </a:rPr>
                        <a:t>Behov for viden</a:t>
                      </a: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1382736"/>
                  </a:ext>
                </a:extLst>
              </a:tr>
              <a:tr h="484744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lse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Overordnet</a:t>
                      </a:r>
                      <a:r>
                        <a:rPr lang="en-US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</a:t>
                      </a:r>
                      <a:r>
                        <a:rPr lang="en-US" sz="150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ansvar</a:t>
                      </a:r>
                      <a:r>
                        <a:rPr lang="en-US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for </a:t>
                      </a:r>
                      <a:r>
                        <a:rPr lang="en-US" sz="150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risikostyring</a:t>
                      </a:r>
                      <a:r>
                        <a:rPr lang="en-US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</a:t>
                      </a:r>
                      <a:r>
                        <a:rPr lang="en-US" sz="150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inkl</a:t>
                      </a:r>
                      <a:r>
                        <a:rPr lang="en-US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. </a:t>
                      </a:r>
                      <a:r>
                        <a:rPr lang="en-US" sz="150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overholde</a:t>
                      </a:r>
                      <a:r>
                        <a:rPr lang="en-US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</a:t>
                      </a:r>
                      <a:r>
                        <a:rPr lang="en-US" sz="150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lovgivning</a:t>
                      </a:r>
                      <a:endParaRPr lang="en-US" sz="15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Overordnet viden om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muligheder, trusler og regulering</a:t>
                      </a:r>
                      <a:r>
                        <a:rPr lang="da-DK" sz="15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+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organisatorisk forankring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338811"/>
                  </a:ext>
                </a:extLst>
              </a:tr>
              <a:tr h="753894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I-udviklere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internt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”Compliance by Design” </a:t>
                      </a:r>
                    </a:p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= Sikre at løsningen fra start lever op til relevante lovkrav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Primært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teknisk</a:t>
                      </a:r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, men også forståelse for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konkrete lovkrav  </a:t>
                      </a:r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(GDPR, AI </a:t>
                      </a:r>
                      <a:r>
                        <a:rPr lang="da-DK" sz="150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Act</a:t>
                      </a:r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mv) </a:t>
                      </a:r>
                    </a:p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+ tilhørende standarder, vejledninger mv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166206"/>
                  </a:ext>
                </a:extLst>
              </a:tr>
              <a:tr h="540914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 b="1" kern="12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Indkøber af AI systemer</a:t>
                      </a:r>
                    </a:p>
                    <a:p>
                      <a:pPr algn="ctr"/>
                      <a:endParaRPr lang="da-DK" sz="15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Forstå forretningsmæssigt behov.</a:t>
                      </a:r>
                    </a:p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Sikre relevante kontraktmæssige krav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b="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Konkret </a:t>
                      </a:r>
                      <a:r>
                        <a:rPr lang="da-DK" sz="1500" b="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viden om den konkrete AI-løsning </a:t>
                      </a:r>
                      <a:r>
                        <a:rPr lang="da-DK" sz="1500" b="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+ </a:t>
                      </a:r>
                      <a:r>
                        <a:rPr lang="da-DK" sz="1500" b="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relevante lovkrav</a:t>
                      </a:r>
                      <a:endParaRPr lang="da-DK" sz="1500" dirty="0">
                        <a:solidFill>
                          <a:srgbClr val="C00000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023238"/>
                  </a:ext>
                </a:extLst>
              </a:tr>
              <a:tr h="648634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da-DK" sz="1500" b="1" kern="12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Bruger af AI systemer</a:t>
                      </a:r>
                    </a:p>
                    <a:p>
                      <a:pPr marL="0" algn="ctr" defTabSz="457200" rtl="0" eaLnBrk="1" latinLnBrk="0" hangingPunct="1"/>
                      <a:r>
                        <a:rPr lang="da-DK" sz="1500" b="1" kern="12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(kan også være eksterne!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 b="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Ansvarlig brug af AI-løsninger,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 b="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herunder overholde retningslinjer mv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 b="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Konkret </a:t>
                      </a:r>
                      <a:r>
                        <a:rPr lang="da-DK" sz="1500" b="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retningslinjer for brug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 b="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(afhænger af </a:t>
                      </a:r>
                      <a:r>
                        <a:rPr lang="da-DK" sz="1500" b="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usecase</a:t>
                      </a:r>
                      <a:r>
                        <a:rPr lang="da-DK" sz="1500" b="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!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36657"/>
                  </a:ext>
                </a:extLst>
              </a:tr>
              <a:tr h="484744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" sz="1500" dirty="0">
                          <a:solidFill>
                            <a:schemeClr val="bg1"/>
                          </a:solidFill>
                          <a:latin typeface="+mn-lt"/>
                        </a:rPr>
                        <a:t>IT / cybersikkerhed</a:t>
                      </a:r>
                      <a:endParaRPr kumimoji="0" lang="da-DK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da-DK" sz="15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Afdække samspil med organisationens generelle IT-miljø og drift, herunder politikker for </a:t>
                      </a:r>
                      <a:r>
                        <a:rPr lang="da-DK" sz="150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cybersikkerhed</a:t>
                      </a:r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Overblik over AI-løsninger </a:t>
                      </a:r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i brug + </a:t>
                      </a:r>
                    </a:p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viden om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AI-specifikke risici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3212530"/>
                  </a:ext>
                </a:extLst>
              </a:tr>
              <a:tr h="727116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 b="1" kern="12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Intern jurist / ekstern juridisk rådgiver</a:t>
                      </a:r>
                    </a:p>
                    <a:p>
                      <a:pPr algn="ctr"/>
                      <a:endParaRPr lang="da-DK" sz="15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Afklaring af juridiske spørgsmål, fx overblik over relevante lovkrav, samspil mellem regelsæt, vurdering af konkret </a:t>
                      </a:r>
                      <a:r>
                        <a:rPr lang="da-DK" sz="150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usecase</a:t>
                      </a:r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mv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Primært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juridisk</a:t>
                      </a:r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, men også behov for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n vis teknisk forståelse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499327"/>
                  </a:ext>
                </a:extLst>
              </a:tr>
              <a:tr h="727116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 b="1" kern="12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Complianc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Tænke AI-</a:t>
                      </a:r>
                      <a:r>
                        <a:rPr lang="da-DK" sz="150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governance</a:t>
                      </a:r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ind i organisationens eksisterende </a:t>
                      </a:r>
                      <a:r>
                        <a:rPr lang="da-DK" sz="1500" dirty="0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governance</a:t>
                      </a:r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-framework samt sikre løbende opfølgning og dokumentation, herunder for menneskeligt tilsyn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Behov for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n vis teknisk og juridisk forståels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707349"/>
                  </a:ext>
                </a:extLst>
              </a:tr>
              <a:tr h="715206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500" b="1" kern="12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”AI officer”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n stilling som bliver stadigt mere udbredt internationalt. Overordnet ansvar for strategi, drift og lovlighed af AI-løsninger.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Behov for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kspertviden ift. det tekniske</a:t>
                      </a:r>
                      <a:r>
                        <a:rPr lang="da-DK" sz="1500" dirty="0">
                          <a:solidFill>
                            <a:schemeClr val="tx1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, og også </a:t>
                      </a:r>
                      <a:r>
                        <a:rPr lang="da-DK" sz="1500" dirty="0">
                          <a:solidFill>
                            <a:srgbClr val="C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dyb viden om jur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8813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9476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8EFF8-9AFB-494C-BA2F-BDAFDF4420FE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E6D1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E6D1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" name="Lige forbindelse 5"/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Billede 8" descr="Et billede, der indeholder kredsløb, Elektroteknik, elektronik, Elektronisk komponent&#10;&#10;Automatisk genereret beskrivelse">
            <a:extLst>
              <a:ext uri="{FF2B5EF4-FFF2-40B4-BE49-F238E27FC236}">
                <a16:creationId xmlns:a16="http://schemas.microsoft.com/office/drawing/2014/main" id="{12C42B41-9E06-C930-BE40-D1BAC41C492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0"/>
          </a:blip>
          <a:srcRect r="11327"/>
          <a:stretch/>
        </p:blipFill>
        <p:spPr>
          <a:xfrm>
            <a:off x="8633864" y="0"/>
            <a:ext cx="3558136" cy="6030080"/>
          </a:xfrm>
          <a:prstGeom prst="rect">
            <a:avLst/>
          </a:prstGeom>
        </p:spPr>
      </p:pic>
      <p:sp>
        <p:nvSpPr>
          <p:cNvPr id="10" name="Ellipse 9">
            <a:extLst>
              <a:ext uri="{FF2B5EF4-FFF2-40B4-BE49-F238E27FC236}">
                <a16:creationId xmlns:a16="http://schemas.microsoft.com/office/drawing/2014/main" id="{907892B5-DA47-A463-94DF-4C188FFB6E5B}"/>
              </a:ext>
            </a:extLst>
          </p:cNvPr>
          <p:cNvSpPr/>
          <p:nvPr/>
        </p:nvSpPr>
        <p:spPr>
          <a:xfrm>
            <a:off x="6816080" y="-8792"/>
            <a:ext cx="3384376" cy="6038872"/>
          </a:xfrm>
          <a:prstGeom prst="ellipse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67AC5972-6B77-4B5E-1FA8-3FF7A2CF1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r>
              <a:rPr lang="da-DK" sz="4000" b="1" dirty="0"/>
              <a:t>Spørgsmål</a:t>
            </a:r>
            <a:endParaRPr lang="da-DK" sz="3700" b="1" dirty="0">
              <a:latin typeface="+mn-lt"/>
            </a:endParaRPr>
          </a:p>
        </p:txBody>
      </p:sp>
      <p:pic>
        <p:nvPicPr>
          <p:cNvPr id="3074" name="Picture 2" descr="AI generated Question mark cartoon 35093606 PNG">
            <a:extLst>
              <a:ext uri="{FF2B5EF4-FFF2-40B4-BE49-F238E27FC236}">
                <a16:creationId xmlns:a16="http://schemas.microsoft.com/office/drawing/2014/main" id="{D1A58701-C2BD-6613-7BD7-942525FA08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8089" y="1418599"/>
            <a:ext cx="2952093" cy="3861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22576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09600" y="3273270"/>
            <a:ext cx="10972800" cy="2266746"/>
          </a:xfrm>
          <a:solidFill>
            <a:srgbClr val="E6D1AC"/>
          </a:solidFill>
        </p:spPr>
        <p:txBody>
          <a:bodyPr numCol="2">
            <a:noAutofit/>
          </a:bodyPr>
          <a:lstStyle/>
          <a:p>
            <a:pPr marL="0" indent="0">
              <a:buNone/>
            </a:pPr>
            <a:r>
              <a:rPr lang="da-DK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skning og undervisning</a:t>
            </a:r>
          </a:p>
          <a:p>
            <a:r>
              <a:rPr lang="da-DK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rhvervs-PhD i IT-ret (2013 – 2016)</a:t>
            </a:r>
          </a:p>
          <a:p>
            <a:r>
              <a:rPr lang="da-DK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kstern lektor i IT-ret, Persondataret mv. (2010 -)</a:t>
            </a:r>
          </a:p>
          <a:p>
            <a:r>
              <a:rPr lang="da-DK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nderviser på IT </a:t>
            </a:r>
            <a:r>
              <a:rPr lang="da-DK" sz="1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est’s</a:t>
            </a:r>
            <a:r>
              <a:rPr lang="da-DK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aster IT-fagpakke:</a:t>
            </a:r>
          </a:p>
          <a:p>
            <a:pPr marL="0" indent="0">
              <a:buNone/>
            </a:pPr>
            <a:r>
              <a:rPr lang="da-DK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   ”Cybersikkerhed, </a:t>
            </a:r>
            <a:r>
              <a:rPr lang="da-DK" sz="180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ivacy</a:t>
            </a:r>
            <a:r>
              <a:rPr lang="da-DK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og Regulering”</a:t>
            </a:r>
          </a:p>
          <a:p>
            <a:pPr marL="0" indent="0">
              <a:buNone/>
            </a:pPr>
            <a:endParaRPr lang="da-DK" sz="1800" b="1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da-DK" sz="1800" b="1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da-DK" sz="1800" b="1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da-DK" sz="1800" b="1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da-DK" sz="1800" b="1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da-DK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det </a:t>
            </a:r>
          </a:p>
          <a:p>
            <a:pPr>
              <a:tabLst>
                <a:tab pos="714375" algn="l"/>
              </a:tabLst>
            </a:pPr>
            <a:r>
              <a:rPr lang="da-DK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estyrelsesmedlem i Danske </a:t>
            </a:r>
            <a:r>
              <a:rPr lang="da-DK" sz="1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T-Advokater</a:t>
            </a:r>
            <a:r>
              <a:rPr lang="da-DK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</a:p>
          <a:p>
            <a:pPr>
              <a:tabLst>
                <a:tab pos="714375" algn="l"/>
              </a:tabLst>
            </a:pPr>
            <a:r>
              <a:rPr lang="da-DK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etværksleder for Technology Denmarks netværk: </a:t>
            </a:r>
            <a:r>
              <a:rPr lang="da-DK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”Innovation &amp; Compliance”</a:t>
            </a:r>
          </a:p>
          <a:p>
            <a:pPr>
              <a:tabLst>
                <a:tab pos="714375" algn="l"/>
              </a:tabLst>
            </a:pPr>
            <a:r>
              <a:rPr lang="da-DK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dpeget til EDPB ”Pool of Experts” ift. digitale teknologier</a:t>
            </a:r>
          </a:p>
          <a:p>
            <a:pPr>
              <a:tabLst>
                <a:tab pos="714375" algn="l"/>
              </a:tabLst>
            </a:pPr>
            <a:r>
              <a:rPr lang="da-DK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dlem af Dansk Standards AI-udvalg</a:t>
            </a:r>
            <a:endParaRPr lang="da-DK" sz="1800" dirty="0">
              <a:solidFill>
                <a:srgbClr val="D22F51"/>
              </a:solidFill>
            </a:endParaRPr>
          </a:p>
          <a:p>
            <a:pPr marL="892175">
              <a:tabLst>
                <a:tab pos="714375" algn="l"/>
              </a:tabLst>
            </a:pPr>
            <a:endParaRPr lang="da-DK" sz="1600" dirty="0">
              <a:solidFill>
                <a:schemeClr val="bg1">
                  <a:lumMod val="50000"/>
                </a:schemeClr>
              </a:solidFill>
            </a:endParaRPr>
          </a:p>
          <a:p>
            <a:pPr marL="892175">
              <a:tabLst>
                <a:tab pos="714375" algn="l"/>
              </a:tabLst>
            </a:pPr>
            <a:endParaRPr lang="da-DK" sz="1600" dirty="0">
              <a:solidFill>
                <a:schemeClr val="bg1">
                  <a:lumMod val="50000"/>
                </a:schemeClr>
              </a:solidFill>
            </a:endParaRPr>
          </a:p>
          <a:p>
            <a:pPr marL="892175">
              <a:tabLst>
                <a:tab pos="714375" algn="l"/>
              </a:tabLst>
            </a:pPr>
            <a:endParaRPr lang="da-DK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8EFF8-9AFB-494C-BA2F-BDAFDF4420FE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E6D1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E6D1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dsholder til indhold 2"/>
          <p:cNvSpPr txBox="1">
            <a:spLocks/>
          </p:cNvSpPr>
          <p:nvPr/>
        </p:nvSpPr>
        <p:spPr>
          <a:xfrm>
            <a:off x="580628" y="2187147"/>
            <a:ext cx="8182378" cy="1021306"/>
          </a:xfrm>
          <a:prstGeom prst="rect">
            <a:avLst/>
          </a:prstGeom>
        </p:spPr>
        <p:txBody>
          <a:bodyPr vert="horz" lIns="91440" tIns="45720" rIns="91440" bIns="45720" numCol="1" rtlCol="0">
            <a:normAutofit fontScale="92500"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D31245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312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il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3124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rtificeret IT-advokat og associeret partner hos Focus Advokater P/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3124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der af Tech Teamet – specialister i digital regulering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ktangel: afrundede hjørner 8">
            <a:extLst>
              <a:ext uri="{FF2B5EF4-FFF2-40B4-BE49-F238E27FC236}">
                <a16:creationId xmlns:a16="http://schemas.microsoft.com/office/drawing/2014/main" id="{FFB94A27-26EA-3F56-EA4B-0825065B49CA}"/>
              </a:ext>
            </a:extLst>
          </p:cNvPr>
          <p:cNvSpPr/>
          <p:nvPr/>
        </p:nvSpPr>
        <p:spPr>
          <a:xfrm>
            <a:off x="709179" y="374138"/>
            <a:ext cx="5386821" cy="735845"/>
          </a:xfrm>
          <a:prstGeom prst="roundRect">
            <a:avLst/>
          </a:prstGeom>
          <a:solidFill>
            <a:srgbClr val="D91245">
              <a:alpha val="90000"/>
            </a:srgbClr>
          </a:solidFill>
          <a:ln>
            <a:solidFill>
              <a:srgbClr val="D9124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 oplægsholderen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1210D0A-D691-1439-0634-32C05681B8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3006" y="-18319"/>
            <a:ext cx="3428995" cy="2498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F9EA1917-F50D-E56F-BA6E-0A14620D9FBF}"/>
              </a:ext>
            </a:extLst>
          </p:cNvPr>
          <p:cNvSpPr/>
          <p:nvPr/>
        </p:nvSpPr>
        <p:spPr>
          <a:xfrm>
            <a:off x="589678" y="1441887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srgbClr val="D312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sper Løffler Niels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a-DK" sz="1800" i="1" u="none" strike="noStrike" kern="1200" cap="none" spc="0" normalizeH="0" baseline="0" noProof="0" dirty="0">
                <a:ln>
                  <a:noFill/>
                </a:ln>
                <a:solidFill>
                  <a:srgbClr val="D312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ocieret partner, advokat, ph.d. v. Focus Advokater P/S</a:t>
            </a:r>
            <a:endParaRPr kumimoji="0" lang="da-DK" sz="1400" i="1" u="none" strike="noStrike" kern="1200" cap="none" spc="0" normalizeH="0" baseline="0" noProof="0" dirty="0">
              <a:ln>
                <a:noFill/>
              </a:ln>
              <a:solidFill>
                <a:srgbClr val="D312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C6E6532-757E-D258-5190-8CC7C0CA5220}"/>
              </a:ext>
            </a:extLst>
          </p:cNvPr>
          <p:cNvSpPr/>
          <p:nvPr/>
        </p:nvSpPr>
        <p:spPr>
          <a:xfrm>
            <a:off x="681066" y="5602176"/>
            <a:ext cx="84969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takt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E-mail: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D22F5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ln@focus-advokater.dk</a:t>
            </a:r>
          </a:p>
        </p:txBody>
      </p:sp>
      <p:pic>
        <p:nvPicPr>
          <p:cNvPr id="13" name="Picture 2" descr="קונברטו - פרסום בלינקדאין שרואה את התמונה הרחבה">
            <a:extLst>
              <a:ext uri="{FF2B5EF4-FFF2-40B4-BE49-F238E27FC236}">
                <a16:creationId xmlns:a16="http://schemas.microsoft.com/office/drawing/2014/main" id="{5592AC44-9BC9-D12B-6833-20CB24B436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5093" y="5593205"/>
            <a:ext cx="656590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kstfelt 13">
            <a:extLst>
              <a:ext uri="{FF2B5EF4-FFF2-40B4-BE49-F238E27FC236}">
                <a16:creationId xmlns:a16="http://schemas.microsoft.com/office/drawing/2014/main" id="{496115A0-1950-5EEB-F70E-2C92F07CC03B}"/>
              </a:ext>
            </a:extLst>
          </p:cNvPr>
          <p:cNvSpPr txBox="1"/>
          <p:nvPr/>
        </p:nvSpPr>
        <p:spPr>
          <a:xfrm>
            <a:off x="5472728" y="5584233"/>
            <a:ext cx="61029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D22F51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</a:t>
            </a: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D22F5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05565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: afrundede hjørner 4">
            <a:extLst>
              <a:ext uri="{FF2B5EF4-FFF2-40B4-BE49-F238E27FC236}">
                <a16:creationId xmlns:a16="http://schemas.microsoft.com/office/drawing/2014/main" id="{83E198D1-EC92-1688-86EC-76DC8E1D18C8}"/>
              </a:ext>
            </a:extLst>
          </p:cNvPr>
          <p:cNvSpPr/>
          <p:nvPr/>
        </p:nvSpPr>
        <p:spPr>
          <a:xfrm>
            <a:off x="609600" y="437257"/>
            <a:ext cx="10972800" cy="893343"/>
          </a:xfrm>
          <a:prstGeom prst="roundRect">
            <a:avLst/>
          </a:prstGeom>
          <a:solidFill>
            <a:srgbClr val="D0244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60157C4-F1C6-5C01-5109-CB42BA6893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742984" cy="1143000"/>
          </a:xfrm>
        </p:spPr>
        <p:txBody>
          <a:bodyPr/>
          <a:lstStyle/>
          <a:p>
            <a:r>
              <a:rPr lang="da-DK" dirty="0">
                <a:solidFill>
                  <a:schemeClr val="bg1"/>
                </a:solidFill>
              </a:rPr>
              <a:t>Tech-teamet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2B72E9D-E942-F948-95E4-6903B888C9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D8EFF8-9AFB-494C-BA2F-BDAFDF4420FE}" type="slidenum">
              <a:rPr lang="da-DK" smtClean="0"/>
              <a:pPr/>
              <a:t>29</a:t>
            </a:fld>
            <a:endParaRPr lang="da-DK" dirty="0"/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DCCE421C-D3C4-B922-D62F-E83427E4C8DE}"/>
              </a:ext>
            </a:extLst>
          </p:cNvPr>
          <p:cNvSpPr txBox="1"/>
          <p:nvPr/>
        </p:nvSpPr>
        <p:spPr>
          <a:xfrm>
            <a:off x="1895460" y="2944932"/>
            <a:ext cx="27812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efan Juvald Stade</a:t>
            </a:r>
            <a:endParaRPr lang="da-DK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a-DK" sz="10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ch- og persondata-koordinator</a:t>
            </a:r>
          </a:p>
          <a:p>
            <a:pPr algn="just"/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mær ekspertis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DPR og intern compli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ftware-understøttelse af compliance-opgaver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CC8B8A1-F67E-2957-50EB-386068C8AB0C}"/>
              </a:ext>
            </a:extLst>
          </p:cNvPr>
          <p:cNvSpPr/>
          <p:nvPr/>
        </p:nvSpPr>
        <p:spPr>
          <a:xfrm>
            <a:off x="609600" y="1561615"/>
            <a:ext cx="1237928" cy="108012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4632DAAC-FE42-E653-C47F-C08F6EFE5BD2}"/>
              </a:ext>
            </a:extLst>
          </p:cNvPr>
          <p:cNvSpPr/>
          <p:nvPr/>
        </p:nvSpPr>
        <p:spPr>
          <a:xfrm>
            <a:off x="609600" y="2996952"/>
            <a:ext cx="1237928" cy="108012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7E6B01DB-A82F-E721-C2AC-AC9B5EE383FE}"/>
              </a:ext>
            </a:extLst>
          </p:cNvPr>
          <p:cNvSpPr/>
          <p:nvPr/>
        </p:nvSpPr>
        <p:spPr>
          <a:xfrm>
            <a:off x="609600" y="4428880"/>
            <a:ext cx="1237928" cy="108012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885A623A-6DF0-D24E-A287-8A5E38FD5FC1}"/>
              </a:ext>
            </a:extLst>
          </p:cNvPr>
          <p:cNvSpPr txBox="1"/>
          <p:nvPr/>
        </p:nvSpPr>
        <p:spPr>
          <a:xfrm>
            <a:off x="1847528" y="4376094"/>
            <a:ext cx="282525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kkel Orthmann Grønbech</a:t>
            </a:r>
          </a:p>
          <a:p>
            <a:r>
              <a:rPr lang="da-DK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vokat</a:t>
            </a:r>
          </a:p>
          <a:p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imær ekspertise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T-kontrakter i form af udviklings-, service-, og forhandleraftaler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taler i relation til maskiner, robotter, droner, </a:t>
            </a:r>
            <a:r>
              <a:rPr lang="da-DK" sz="1000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oT</a:t>
            </a: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mv.</a:t>
            </a:r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165FCD3B-FFBB-A52F-73F5-ADCC53D91032}"/>
              </a:ext>
            </a:extLst>
          </p:cNvPr>
          <p:cNvSpPr txBox="1"/>
          <p:nvPr/>
        </p:nvSpPr>
        <p:spPr>
          <a:xfrm>
            <a:off x="1895460" y="1520456"/>
            <a:ext cx="2781272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sper Løffler Nielsen</a:t>
            </a:r>
            <a:endParaRPr lang="da-DK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a-DK" sz="1000" i="1" dirty="0"/>
              <a:t>Certificeret IT-advokat og associeret partner</a:t>
            </a:r>
          </a:p>
          <a:p>
            <a:endParaRPr lang="da-DK" sz="1000" i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mær ekspertis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b="0" i="0" dirty="0">
                <a:solidFill>
                  <a:srgbClr val="000000"/>
                </a:solidFill>
                <a:effectLst/>
                <a:latin typeface="Inter"/>
              </a:rPr>
              <a:t>Moderne teknologier såsom software, cloud, </a:t>
            </a:r>
            <a:r>
              <a:rPr lang="da-DK" sz="1000" b="0" i="0" dirty="0" err="1">
                <a:solidFill>
                  <a:srgbClr val="000000"/>
                </a:solidFill>
                <a:effectLst/>
                <a:latin typeface="Inter"/>
              </a:rPr>
              <a:t>IoT</a:t>
            </a:r>
            <a:r>
              <a:rPr lang="da-DK" sz="1000" b="0" i="0" dirty="0">
                <a:solidFill>
                  <a:srgbClr val="000000"/>
                </a:solidFill>
                <a:effectLst/>
                <a:latin typeface="Inter"/>
              </a:rPr>
              <a:t>, robotter, droner og A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rgbClr val="000000"/>
                </a:solidFill>
                <a:latin typeface="Inter"/>
              </a:rPr>
              <a:t>G</a:t>
            </a:r>
            <a:r>
              <a:rPr lang="da-DK" sz="1000" b="0" i="0" dirty="0">
                <a:solidFill>
                  <a:srgbClr val="000000"/>
                </a:solidFill>
                <a:effectLst/>
                <a:latin typeface="Inter"/>
              </a:rPr>
              <a:t>ældende og kommende regler i digitale teknologier og data og samspillet mellem dem</a:t>
            </a:r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9BC3E89A-C1AD-6BF2-E02E-B71B3FB929FB}"/>
              </a:ext>
            </a:extLst>
          </p:cNvPr>
          <p:cNvSpPr/>
          <p:nvPr/>
        </p:nvSpPr>
        <p:spPr>
          <a:xfrm>
            <a:off x="4858072" y="1556792"/>
            <a:ext cx="1237928" cy="1080120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B647903-D8AF-6F51-EDCC-CEB1E39080AF}"/>
              </a:ext>
            </a:extLst>
          </p:cNvPr>
          <p:cNvSpPr/>
          <p:nvPr/>
        </p:nvSpPr>
        <p:spPr>
          <a:xfrm>
            <a:off x="4858072" y="2992129"/>
            <a:ext cx="1237928" cy="1070676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A19C3995-3E9D-788F-B0E8-E7A737F85853}"/>
              </a:ext>
            </a:extLst>
          </p:cNvPr>
          <p:cNvSpPr/>
          <p:nvPr/>
        </p:nvSpPr>
        <p:spPr>
          <a:xfrm>
            <a:off x="4860311" y="4414326"/>
            <a:ext cx="1237928" cy="1080120"/>
          </a:xfrm>
          <a:prstGeom prst="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8D6E5004-6C16-E218-D5F4-E373DC4A9755}"/>
              </a:ext>
            </a:extLst>
          </p:cNvPr>
          <p:cNvSpPr txBox="1"/>
          <p:nvPr/>
        </p:nvSpPr>
        <p:spPr>
          <a:xfrm>
            <a:off x="6123040" y="2944932"/>
            <a:ext cx="2781272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sper Krag</a:t>
            </a:r>
          </a:p>
          <a:p>
            <a:r>
              <a:rPr lang="da-DK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vokat</a:t>
            </a:r>
          </a:p>
          <a:p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mær ekspertise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DPR, herunder håndtering af databrud, data-behandleraftaler, og DPO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bersikkerhed, herunder NIS2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oudkontrakter</a:t>
            </a:r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76A54E76-2A34-7639-B299-A60C5B234B9F}"/>
              </a:ext>
            </a:extLst>
          </p:cNvPr>
          <p:cNvSpPr txBox="1"/>
          <p:nvPr/>
        </p:nvSpPr>
        <p:spPr>
          <a:xfrm>
            <a:off x="6075108" y="4340541"/>
            <a:ext cx="282525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b="1" dirty="0"/>
              <a:t>Maria-Louise F. Pedersen</a:t>
            </a:r>
          </a:p>
          <a:p>
            <a:r>
              <a:rPr lang="da-DK" sz="10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vokatfuldmægtig</a:t>
            </a:r>
          </a:p>
          <a:p>
            <a:endParaRPr lang="da-DK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imær ekspertise: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DPR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rkedsføringsret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a-DK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tech</a:t>
            </a:r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ciale medier</a:t>
            </a:r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4183762E-EF24-6578-3F8D-E44C4FE29678}"/>
              </a:ext>
            </a:extLst>
          </p:cNvPr>
          <p:cNvSpPr txBox="1"/>
          <p:nvPr/>
        </p:nvSpPr>
        <p:spPr>
          <a:xfrm>
            <a:off x="6123040" y="1520456"/>
            <a:ext cx="27812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ikke Graff Merkel</a:t>
            </a:r>
          </a:p>
          <a:p>
            <a:r>
              <a:rPr lang="da-DK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d.jur., specialist i GDPR og markedsføringsret</a:t>
            </a:r>
          </a:p>
          <a:p>
            <a:pPr algn="just"/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mær ekspertise: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rationel GDPR-compliance, bl.a. udarbejdelse af lovpligtige GDPR-dokumenter</a:t>
            </a:r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delses-forankring</a:t>
            </a: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F222B035-B32A-E832-0DB6-8052CBA7284D}"/>
              </a:ext>
            </a:extLst>
          </p:cNvPr>
          <p:cNvSpPr/>
          <p:nvPr/>
        </p:nvSpPr>
        <p:spPr>
          <a:xfrm>
            <a:off x="9034536" y="1556792"/>
            <a:ext cx="1237928" cy="1080120"/>
          </a:xfrm>
          <a:prstGeom prst="rect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B4D65A40-F025-9713-D34B-3C508C6B5AA5}"/>
              </a:ext>
            </a:extLst>
          </p:cNvPr>
          <p:cNvSpPr txBox="1"/>
          <p:nvPr/>
        </p:nvSpPr>
        <p:spPr>
          <a:xfrm>
            <a:off x="10299504" y="1520456"/>
            <a:ext cx="2781272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fie Vanggaard</a:t>
            </a:r>
          </a:p>
          <a:p>
            <a:r>
              <a:rPr lang="da-DK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inee</a:t>
            </a:r>
          </a:p>
          <a:p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mær ekspertis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DPR compli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formationssøg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t ansvarlig for litteratur </a:t>
            </a:r>
          </a:p>
          <a:p>
            <a:pPr marL="268288" indent="-268288"/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	og nyhedsformidling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161C7C56-B3A0-4F58-B2BE-3790BAA254B3}"/>
              </a:ext>
            </a:extLst>
          </p:cNvPr>
          <p:cNvSpPr/>
          <p:nvPr/>
        </p:nvSpPr>
        <p:spPr>
          <a:xfrm>
            <a:off x="9034536" y="2987407"/>
            <a:ext cx="1237928" cy="1080120"/>
          </a:xfrm>
          <a:prstGeom prst="rect">
            <a:avLst/>
          </a:prstGeo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8206CE35-A5AE-A510-C986-B5471F85A89F}"/>
              </a:ext>
            </a:extLst>
          </p:cNvPr>
          <p:cNvSpPr txBox="1"/>
          <p:nvPr/>
        </p:nvSpPr>
        <p:spPr>
          <a:xfrm>
            <a:off x="10299504" y="2938592"/>
            <a:ext cx="278127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mone Lind Hansen</a:t>
            </a:r>
          </a:p>
          <a:p>
            <a:r>
              <a:rPr lang="da-DK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inee</a:t>
            </a:r>
          </a:p>
          <a:p>
            <a:pPr algn="just"/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mær ekspertise: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DPR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a-DK" sz="1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kedsføringsret</a:t>
            </a:r>
            <a:endParaRPr lang="da-DK" sz="1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403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458FE9-A6B5-F78C-2537-9205E04FD7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6271FD-AA8C-65E2-190A-7CF5C4E4D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000" dirty="0"/>
              <a:t>Dagens webinar handler om overblik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0286C466-5A1B-88CF-6A2D-6708871E37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D8EFF8-9AFB-494C-BA2F-BDAFDF4420FE}" type="slidenum">
              <a:rPr lang="da-DK" smtClean="0"/>
              <a:pPr/>
              <a:t>3</a:t>
            </a:fld>
            <a:endParaRPr lang="da-DK"/>
          </a:p>
        </p:txBody>
      </p:sp>
      <p:cxnSp>
        <p:nvCxnSpPr>
          <p:cNvPr id="6" name="Lige forbindelse 5">
            <a:extLst>
              <a:ext uri="{FF2B5EF4-FFF2-40B4-BE49-F238E27FC236}">
                <a16:creationId xmlns:a16="http://schemas.microsoft.com/office/drawing/2014/main" id="{9972D5A9-A996-552C-2270-976B4D3F994E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Grafik 4" descr="Helikopter med massiv udfyldning">
            <a:extLst>
              <a:ext uri="{FF2B5EF4-FFF2-40B4-BE49-F238E27FC236}">
                <a16:creationId xmlns:a16="http://schemas.microsoft.com/office/drawing/2014/main" id="{976D01C8-3545-37C1-B3A4-F8B3638893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81245" y="1614245"/>
            <a:ext cx="3629510" cy="3629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9185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E9EAAB-6335-FDCF-2D31-006EB1E21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872578-A729-994E-6C7B-67293A715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2373" y="2420888"/>
            <a:ext cx="10830027" cy="1362075"/>
          </a:xfrm>
        </p:spPr>
        <p:txBody>
          <a:bodyPr>
            <a:noAutofit/>
          </a:bodyPr>
          <a:lstStyle/>
          <a:p>
            <a:pPr algn="ctr">
              <a:tabLst>
                <a:tab pos="4930775" algn="l"/>
                <a:tab pos="5026025" algn="l"/>
              </a:tabLst>
            </a:pPr>
            <a:r>
              <a:rPr lang="da" b="1" dirty="0"/>
              <a:t>Ai er komplekst!</a:t>
            </a:r>
            <a:endParaRPr lang="da-DK" b="1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DD29A88-42E8-03D5-B4DB-8054775BBF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8EFF8-9AFB-494C-BA2F-BDAFDF4420FE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E6D1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a-DK" sz="1050" b="0" i="0" u="none" strike="noStrike" kern="1200" cap="none" spc="0" normalizeH="0" baseline="0" noProof="0">
              <a:ln>
                <a:noFill/>
              </a:ln>
              <a:solidFill>
                <a:srgbClr val="E6D1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31AC162-7ED9-FF0B-A130-84B896717C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9024" y="4150074"/>
            <a:ext cx="905001" cy="257211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C24714F7-0184-306A-1142-2E6FBC85A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9025" y="1270942"/>
            <a:ext cx="905001" cy="257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9193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ktangel 34">
            <a:extLst>
              <a:ext uri="{FF2B5EF4-FFF2-40B4-BE49-F238E27FC236}">
                <a16:creationId xmlns:a16="http://schemas.microsoft.com/office/drawing/2014/main" id="{2E74A42E-FB2D-F92F-6F10-91D1B134AD11}"/>
              </a:ext>
            </a:extLst>
          </p:cNvPr>
          <p:cNvSpPr/>
          <p:nvPr/>
        </p:nvSpPr>
        <p:spPr>
          <a:xfrm>
            <a:off x="6805061" y="-19250"/>
            <a:ext cx="5377314" cy="605429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E96643-87C5-CA97-6934-9D5386A96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I fra et juridisk perspektiv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9A18D47-265A-A6E8-85A9-66F61133DD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600201"/>
            <a:ext cx="5725905" cy="4525963"/>
          </a:xfrm>
        </p:spPr>
        <p:txBody>
          <a:bodyPr/>
          <a:lstStyle/>
          <a:p>
            <a:r>
              <a:rPr lang="da-DK" dirty="0"/>
              <a:t>Teknisk kompleksitet</a:t>
            </a:r>
          </a:p>
          <a:p>
            <a:endParaRPr lang="da-DK" dirty="0"/>
          </a:p>
          <a:p>
            <a:r>
              <a:rPr lang="da-DK" dirty="0"/>
              <a:t>Juridisk kompleksitet</a:t>
            </a:r>
          </a:p>
          <a:p>
            <a:pPr marL="457200" lvl="1" indent="0">
              <a:buNone/>
            </a:pPr>
            <a:endParaRPr lang="da-DK" dirty="0"/>
          </a:p>
          <a:p>
            <a:pPr marL="342900" lvl="1" indent="-342900">
              <a:buClr>
                <a:srgbClr val="D31245"/>
              </a:buClr>
              <a:buFont typeface="Wingdings" panose="05000000000000000000" pitchFamily="2" charset="2"/>
              <a:buChar char="§"/>
            </a:pPr>
            <a:r>
              <a:rPr lang="da-DK" sz="2400" dirty="0"/>
              <a:t>+ løbende udvikling af teknologi og retskildebillede…</a:t>
            </a:r>
          </a:p>
          <a:p>
            <a:pPr lvl="1"/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F50CE13-13E4-5CE5-03B9-5866750E3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8EFF8-9AFB-494C-BA2F-BDAFDF4420FE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E6D1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E6D1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5" name="Lige pilforbindelse 24">
            <a:extLst>
              <a:ext uri="{FF2B5EF4-FFF2-40B4-BE49-F238E27FC236}">
                <a16:creationId xmlns:a16="http://schemas.microsoft.com/office/drawing/2014/main" id="{A33287F7-4D2A-C1F7-4BA0-73E5483EBD66}"/>
              </a:ext>
            </a:extLst>
          </p:cNvPr>
          <p:cNvCxnSpPr>
            <a:cxnSpLocks/>
          </p:cNvCxnSpPr>
          <p:nvPr/>
        </p:nvCxnSpPr>
        <p:spPr>
          <a:xfrm flipV="1">
            <a:off x="8435316" y="1508468"/>
            <a:ext cx="0" cy="27666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Lige pilforbindelse 25">
            <a:extLst>
              <a:ext uri="{FF2B5EF4-FFF2-40B4-BE49-F238E27FC236}">
                <a16:creationId xmlns:a16="http://schemas.microsoft.com/office/drawing/2014/main" id="{9503F3A4-4C08-F95F-1B63-D3ABE681473F}"/>
              </a:ext>
            </a:extLst>
          </p:cNvPr>
          <p:cNvCxnSpPr>
            <a:cxnSpLocks/>
          </p:cNvCxnSpPr>
          <p:nvPr/>
        </p:nvCxnSpPr>
        <p:spPr>
          <a:xfrm>
            <a:off x="8435316" y="4264022"/>
            <a:ext cx="302433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kstfelt 26">
            <a:extLst>
              <a:ext uri="{FF2B5EF4-FFF2-40B4-BE49-F238E27FC236}">
                <a16:creationId xmlns:a16="http://schemas.microsoft.com/office/drawing/2014/main" id="{5DC7599C-78DC-8A7F-5D79-7B82B0578C96}"/>
              </a:ext>
            </a:extLst>
          </p:cNvPr>
          <p:cNvSpPr txBox="1"/>
          <p:nvPr/>
        </p:nvSpPr>
        <p:spPr>
          <a:xfrm>
            <a:off x="6995156" y="2336746"/>
            <a:ext cx="15594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knisk kompleksitet</a:t>
            </a: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497B33E2-B895-8487-0CA7-DC9329D27C68}"/>
              </a:ext>
            </a:extLst>
          </p:cNvPr>
          <p:cNvSpPr txBox="1"/>
          <p:nvPr/>
        </p:nvSpPr>
        <p:spPr>
          <a:xfrm>
            <a:off x="9455770" y="4275123"/>
            <a:ext cx="15594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ridisk kompleksitet</a:t>
            </a:r>
          </a:p>
        </p:txBody>
      </p:sp>
      <p:sp>
        <p:nvSpPr>
          <p:cNvPr id="29" name="Tekstfelt 28">
            <a:extLst>
              <a:ext uri="{FF2B5EF4-FFF2-40B4-BE49-F238E27FC236}">
                <a16:creationId xmlns:a16="http://schemas.microsoft.com/office/drawing/2014/main" id="{7039DE81-4B62-2C71-C1F1-5E8ABAB4286C}"/>
              </a:ext>
            </a:extLst>
          </p:cNvPr>
          <p:cNvSpPr txBox="1"/>
          <p:nvPr/>
        </p:nvSpPr>
        <p:spPr>
          <a:xfrm>
            <a:off x="10780624" y="1636302"/>
            <a:ext cx="8778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E358C48B-9A8C-09D8-AFC2-BDA22DE2A9BD}"/>
              </a:ext>
            </a:extLst>
          </p:cNvPr>
          <p:cNvSpPr txBox="1"/>
          <p:nvPr/>
        </p:nvSpPr>
        <p:spPr>
          <a:xfrm>
            <a:off x="8462578" y="2573216"/>
            <a:ext cx="15322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ftware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BADB8F9D-2A67-81C5-1032-E12B1D674859}"/>
              </a:ext>
            </a:extLst>
          </p:cNvPr>
          <p:cNvSpPr txBox="1"/>
          <p:nvPr/>
        </p:nvSpPr>
        <p:spPr>
          <a:xfrm>
            <a:off x="10535129" y="3652753"/>
            <a:ext cx="13688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2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78FC74CB-2643-9977-2B6D-0F50A86450C4}"/>
              </a:ext>
            </a:extLst>
          </p:cNvPr>
          <p:cNvSpPr txBox="1"/>
          <p:nvPr/>
        </p:nvSpPr>
        <p:spPr>
          <a:xfrm>
            <a:off x="9683945" y="3026019"/>
            <a:ext cx="13688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20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T</a:t>
            </a:r>
            <a:endParaRPr kumimoji="0" lang="da-DK" sz="20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50C06E22-E9C4-C5F5-3849-9CE5622088A3}"/>
              </a:ext>
            </a:extLst>
          </p:cNvPr>
          <p:cNvSpPr txBox="1"/>
          <p:nvPr/>
        </p:nvSpPr>
        <p:spPr>
          <a:xfrm>
            <a:off x="9166251" y="1508468"/>
            <a:ext cx="13688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ckchain</a:t>
            </a:r>
          </a:p>
        </p:txBody>
      </p:sp>
      <p:sp>
        <p:nvSpPr>
          <p:cNvPr id="34" name="Tekstfelt 33">
            <a:extLst>
              <a:ext uri="{FF2B5EF4-FFF2-40B4-BE49-F238E27FC236}">
                <a16:creationId xmlns:a16="http://schemas.microsoft.com/office/drawing/2014/main" id="{485B697E-0E56-E5E2-CF12-8D8E648502D6}"/>
              </a:ext>
            </a:extLst>
          </p:cNvPr>
          <p:cNvSpPr txBox="1"/>
          <p:nvPr/>
        </p:nvSpPr>
        <p:spPr>
          <a:xfrm>
            <a:off x="9906548" y="2198260"/>
            <a:ext cx="13688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ine platforme</a:t>
            </a:r>
          </a:p>
        </p:txBody>
      </p:sp>
      <p:pic>
        <p:nvPicPr>
          <p:cNvPr id="36" name="Billede 35">
            <a:extLst>
              <a:ext uri="{FF2B5EF4-FFF2-40B4-BE49-F238E27FC236}">
                <a16:creationId xmlns:a16="http://schemas.microsoft.com/office/drawing/2014/main" id="{8657CFF0-BA35-51E3-6618-7D366784FF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975" y="1118542"/>
            <a:ext cx="905001" cy="257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958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A4A77-4E50-2AED-1575-EA9C371B7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2686D4-0164-5D9F-156A-4D0CEB90E1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anske AI-signaturprojekter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57656A5-8CC9-ED58-B25C-C349E330F2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10598968" cy="4525963"/>
          </a:xfrm>
        </p:spPr>
        <p:txBody>
          <a:bodyPr numCol="1">
            <a:noAutofit/>
          </a:bodyPr>
          <a:lstStyle/>
          <a:p>
            <a:pPr marL="0" indent="0">
              <a:buNone/>
            </a:pPr>
            <a:r>
              <a:rPr lang="en-US" sz="2000" b="1" dirty="0" err="1">
                <a:solidFill>
                  <a:srgbClr val="C00000"/>
                </a:solidFill>
              </a:rPr>
              <a:t>Erfaringer</a:t>
            </a:r>
            <a:r>
              <a:rPr lang="en-US" sz="2000" b="1" dirty="0">
                <a:solidFill>
                  <a:srgbClr val="C00000"/>
                </a:solidFill>
              </a:rPr>
              <a:t> </a:t>
            </a:r>
            <a:r>
              <a:rPr lang="en-US" sz="2000" b="1" dirty="0" err="1">
                <a:solidFill>
                  <a:srgbClr val="C00000"/>
                </a:solidFill>
              </a:rPr>
              <a:t>fra</a:t>
            </a:r>
            <a:r>
              <a:rPr lang="en-US" sz="2000" b="1" dirty="0">
                <a:solidFill>
                  <a:srgbClr val="C00000"/>
                </a:solidFill>
              </a:rPr>
              <a:t> 40 </a:t>
            </a:r>
            <a:r>
              <a:rPr lang="en-US" sz="2000" b="1" dirty="0" err="1">
                <a:solidFill>
                  <a:srgbClr val="C00000"/>
                </a:solidFill>
              </a:rPr>
              <a:t>danske</a:t>
            </a:r>
            <a:r>
              <a:rPr lang="en-US" sz="2000" b="1" dirty="0">
                <a:solidFill>
                  <a:srgbClr val="C00000"/>
                </a:solidFill>
              </a:rPr>
              <a:t> </a:t>
            </a:r>
            <a:r>
              <a:rPr lang="en-US" sz="2000" b="1" dirty="0" err="1">
                <a:solidFill>
                  <a:srgbClr val="C00000"/>
                </a:solidFill>
              </a:rPr>
              <a:t>projekter</a:t>
            </a:r>
            <a:r>
              <a:rPr lang="en-US" sz="2000" b="1" dirty="0">
                <a:solidFill>
                  <a:srgbClr val="C00000"/>
                </a:solidFill>
              </a:rPr>
              <a:t> </a:t>
            </a:r>
            <a:r>
              <a:rPr lang="en-US" sz="2000" b="1" dirty="0" err="1">
                <a:solidFill>
                  <a:srgbClr val="C00000"/>
                </a:solidFill>
              </a:rPr>
              <a:t>på</a:t>
            </a:r>
            <a:r>
              <a:rPr lang="en-US" sz="2000" b="1" dirty="0">
                <a:solidFill>
                  <a:srgbClr val="C00000"/>
                </a:solidFill>
              </a:rPr>
              <a:t> </a:t>
            </a:r>
            <a:r>
              <a:rPr lang="en-US" sz="2000" b="1" dirty="0" err="1">
                <a:solidFill>
                  <a:srgbClr val="C00000"/>
                </a:solidFill>
              </a:rPr>
              <a:t>tværs</a:t>
            </a:r>
            <a:r>
              <a:rPr lang="en-US" sz="2000" b="1" dirty="0">
                <a:solidFill>
                  <a:srgbClr val="C00000"/>
                </a:solidFill>
              </a:rPr>
              <a:t> </a:t>
            </a:r>
            <a:r>
              <a:rPr lang="en-US" sz="2000" b="1" dirty="0" err="1">
                <a:solidFill>
                  <a:srgbClr val="C00000"/>
                </a:solidFill>
              </a:rPr>
              <a:t>af</a:t>
            </a:r>
            <a:r>
              <a:rPr lang="en-US" sz="2000" b="1" dirty="0">
                <a:solidFill>
                  <a:srgbClr val="C00000"/>
                </a:solidFill>
              </a:rPr>
              <a:t> </a:t>
            </a:r>
            <a:r>
              <a:rPr lang="en-US" sz="2000" b="1" dirty="0" err="1">
                <a:solidFill>
                  <a:srgbClr val="C00000"/>
                </a:solidFill>
              </a:rPr>
              <a:t>kommune</a:t>
            </a:r>
            <a:r>
              <a:rPr lang="en-US" sz="2000" b="1" dirty="0">
                <a:solidFill>
                  <a:srgbClr val="C00000"/>
                </a:solidFill>
              </a:rPr>
              <a:t>, region og stat (18 er </a:t>
            </a:r>
            <a:r>
              <a:rPr lang="en-US" sz="2000" b="1" dirty="0" err="1">
                <a:solidFill>
                  <a:srgbClr val="C00000"/>
                </a:solidFill>
              </a:rPr>
              <a:t>fortsat</a:t>
            </a:r>
            <a:r>
              <a:rPr lang="en-US" sz="2000" b="1" dirty="0">
                <a:solidFill>
                  <a:srgbClr val="C00000"/>
                </a:solidFill>
              </a:rPr>
              <a:t> i gang)</a:t>
            </a:r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 err="1"/>
              <a:t>Temperaturmåling</a:t>
            </a:r>
            <a:r>
              <a:rPr lang="en-US" sz="1600" b="1" dirty="0"/>
              <a:t> 2021:</a:t>
            </a:r>
          </a:p>
          <a:p>
            <a:pPr marL="0" indent="0">
              <a:buNone/>
            </a:pPr>
            <a:r>
              <a:rPr lang="da-DK" sz="1500" i="1" dirty="0">
                <a:solidFill>
                  <a:srgbClr val="C00000"/>
                </a:solidFill>
              </a:rPr>
              <a:t>”Jura</a:t>
            </a:r>
            <a:r>
              <a:rPr lang="da-DK" sz="1500" i="1" dirty="0"/>
              <a:t>: Den største oplevede udfordring vedrører usikkerhed om fortolkning af </a:t>
            </a:r>
            <a:r>
              <a:rPr lang="da-DK" sz="1500" i="1" dirty="0">
                <a:solidFill>
                  <a:srgbClr val="C00000"/>
                </a:solidFill>
              </a:rPr>
              <a:t>GDPR</a:t>
            </a:r>
            <a:r>
              <a:rPr lang="da-DK" sz="1500" i="1" dirty="0"/>
              <a:t>.”</a:t>
            </a:r>
            <a:endParaRPr lang="en-US" sz="1500" i="1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 err="1"/>
              <a:t>Erfaringsopsamling</a:t>
            </a:r>
            <a:r>
              <a:rPr lang="en-US" sz="1600" b="1" dirty="0"/>
              <a:t> 2022: </a:t>
            </a:r>
          </a:p>
          <a:p>
            <a:pPr marL="0" indent="0">
              <a:buNone/>
            </a:pPr>
            <a:r>
              <a:rPr lang="en-US" sz="1500" i="1" dirty="0"/>
              <a:t>“</a:t>
            </a:r>
            <a:r>
              <a:rPr lang="en-US" sz="1500" i="1" dirty="0" err="1"/>
              <a:t>Projekternes</a:t>
            </a:r>
            <a:r>
              <a:rPr lang="en-US" sz="1500" i="1" dirty="0"/>
              <a:t> </a:t>
            </a:r>
            <a:r>
              <a:rPr lang="en-US" sz="1500" i="1" dirty="0" err="1"/>
              <a:t>største</a:t>
            </a:r>
            <a:r>
              <a:rPr lang="en-US" sz="1500" i="1" dirty="0"/>
              <a:t> </a:t>
            </a:r>
            <a:r>
              <a:rPr lang="en-US" sz="1500" i="1" dirty="0" err="1"/>
              <a:t>udfordringer</a:t>
            </a:r>
            <a:r>
              <a:rPr lang="en-US" sz="1500" i="1" dirty="0"/>
              <a:t> </a:t>
            </a:r>
            <a:r>
              <a:rPr lang="en-US" sz="1500" i="1" dirty="0" err="1"/>
              <a:t>opleves</a:t>
            </a:r>
            <a:r>
              <a:rPr lang="en-US" sz="1500" i="1" dirty="0"/>
              <a:t> i </a:t>
            </a:r>
            <a:r>
              <a:rPr lang="en-US" sz="1500" i="1" dirty="0" err="1"/>
              <a:t>forbindelse</a:t>
            </a:r>
            <a:r>
              <a:rPr lang="en-US" sz="1500" i="1" dirty="0"/>
              <a:t> med data, </a:t>
            </a:r>
            <a:r>
              <a:rPr lang="en-US" sz="1500" i="1" dirty="0" err="1"/>
              <a:t>infrastruktur</a:t>
            </a:r>
            <a:r>
              <a:rPr lang="en-US" sz="1500" i="1" dirty="0"/>
              <a:t> og </a:t>
            </a:r>
            <a:r>
              <a:rPr lang="en-US" sz="1500" i="1" dirty="0">
                <a:solidFill>
                  <a:srgbClr val="C00000"/>
                </a:solidFill>
              </a:rPr>
              <a:t>jura</a:t>
            </a:r>
            <a:r>
              <a:rPr lang="en-US" sz="1500" i="1" dirty="0"/>
              <a:t> i </a:t>
            </a:r>
            <a:r>
              <a:rPr lang="en-US" sz="1500" i="1" dirty="0" err="1"/>
              <a:t>tråd</a:t>
            </a:r>
            <a:r>
              <a:rPr lang="en-US" sz="1500" i="1" dirty="0"/>
              <a:t> med </a:t>
            </a:r>
            <a:r>
              <a:rPr lang="en-US" sz="1500" i="1" dirty="0" err="1"/>
              <a:t>temperaturmålingens</a:t>
            </a:r>
            <a:r>
              <a:rPr lang="en-US" sz="1500" i="1" dirty="0"/>
              <a:t> </a:t>
            </a:r>
            <a:r>
              <a:rPr lang="en-US" sz="1500" i="1" dirty="0" err="1"/>
              <a:t>konklusioner</a:t>
            </a:r>
            <a:r>
              <a:rPr lang="en-US" sz="1500" i="1" dirty="0"/>
              <a:t>.”</a:t>
            </a:r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 err="1"/>
              <a:t>Erfaringsopsamling</a:t>
            </a:r>
            <a:r>
              <a:rPr lang="en-US" sz="1600" b="1" dirty="0"/>
              <a:t>/</a:t>
            </a:r>
            <a:r>
              <a:rPr lang="en-US" sz="1600" b="1" dirty="0" err="1"/>
              <a:t>evaluering</a:t>
            </a:r>
            <a:r>
              <a:rPr lang="en-US" sz="1600" b="1" dirty="0"/>
              <a:t> 2024:</a:t>
            </a:r>
          </a:p>
          <a:p>
            <a:pPr marL="0" indent="0">
              <a:buNone/>
            </a:pPr>
            <a:r>
              <a:rPr lang="da-DK" sz="1500" i="1" dirty="0"/>
              <a:t>”</a:t>
            </a:r>
            <a:r>
              <a:rPr lang="da-DK" sz="1500" i="1" dirty="0">
                <a:solidFill>
                  <a:srgbClr val="C00000"/>
                </a:solidFill>
              </a:rPr>
              <a:t>Juridisk fortolkning og manglende klarhed om hjemler </a:t>
            </a:r>
            <a:r>
              <a:rPr lang="da-DK" sz="1500" i="1" dirty="0"/>
              <a:t>har været den </a:t>
            </a:r>
            <a:r>
              <a:rPr lang="da-DK" sz="1500" i="1" dirty="0" err="1"/>
              <a:t>næsthyppigste</a:t>
            </a:r>
            <a:r>
              <a:rPr lang="da-DK" sz="1500" i="1" dirty="0"/>
              <a:t> udfordring blandt AI-signaturprojekterne…”</a:t>
            </a:r>
            <a:endParaRPr lang="en-US" sz="1500" i="1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6ADB565A-314D-22F1-E2D7-ABA63EEF35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D8EFF8-9AFB-494C-BA2F-BDAFDF4420FE}" type="slidenum">
              <a:rPr lang="da-DK" smtClean="0"/>
              <a:pPr/>
              <a:t>6</a:t>
            </a:fld>
            <a:endParaRPr lang="da-DK"/>
          </a:p>
        </p:txBody>
      </p:sp>
      <p:cxnSp>
        <p:nvCxnSpPr>
          <p:cNvPr id="6" name="Lige forbindelse 5">
            <a:extLst>
              <a:ext uri="{FF2B5EF4-FFF2-40B4-BE49-F238E27FC236}">
                <a16:creationId xmlns:a16="http://schemas.microsoft.com/office/drawing/2014/main" id="{55EF5667-158A-BF32-2FF9-BD6C582B1DB3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3243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97FF25-D298-FA99-A53C-3A93D0B1C9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23EF4A-7258-2962-F5A1-34891B30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 er alle på en modenhedsrejse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BF07BFA9-A31D-EAE3-6F95-8FACB377B6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10598968" cy="4525963"/>
          </a:xfrm>
        </p:spPr>
        <p:txBody>
          <a:bodyPr numCol="1">
            <a:noAutofit/>
          </a:bodyPr>
          <a:lstStyle/>
          <a:p>
            <a:pPr marL="0" indent="0">
              <a:buNone/>
            </a:pPr>
            <a:r>
              <a:rPr lang="en-US" sz="2200" b="1" dirty="0">
                <a:solidFill>
                  <a:srgbClr val="C00000"/>
                </a:solidFill>
              </a:rPr>
              <a:t>Det </a:t>
            </a:r>
            <a:r>
              <a:rPr lang="en-US" sz="2200" b="1" dirty="0" err="1">
                <a:solidFill>
                  <a:srgbClr val="C00000"/>
                </a:solidFill>
              </a:rPr>
              <a:t>vil</a:t>
            </a:r>
            <a:r>
              <a:rPr lang="en-US" sz="2200" b="1" dirty="0">
                <a:solidFill>
                  <a:srgbClr val="C00000"/>
                </a:solidFill>
              </a:rPr>
              <a:t> </a:t>
            </a:r>
            <a:r>
              <a:rPr lang="en-US" sz="2200" b="1" dirty="0" err="1">
                <a:solidFill>
                  <a:srgbClr val="C00000"/>
                </a:solidFill>
              </a:rPr>
              <a:t>tage</a:t>
            </a:r>
            <a:r>
              <a:rPr lang="en-US" sz="2200" b="1" dirty="0">
                <a:solidFill>
                  <a:srgbClr val="C00000"/>
                </a:solidFill>
              </a:rPr>
              <a:t> </a:t>
            </a:r>
            <a:r>
              <a:rPr lang="en-US" sz="2200" b="1" dirty="0" err="1">
                <a:solidFill>
                  <a:srgbClr val="C00000"/>
                </a:solidFill>
              </a:rPr>
              <a:t>en</a:t>
            </a:r>
            <a:r>
              <a:rPr lang="en-US" sz="2200" b="1" dirty="0">
                <a:solidFill>
                  <a:srgbClr val="C00000"/>
                </a:solidFill>
              </a:rPr>
              <a:t> </a:t>
            </a:r>
            <a:r>
              <a:rPr lang="en-US" sz="2200" b="1" dirty="0" err="1">
                <a:solidFill>
                  <a:srgbClr val="C00000"/>
                </a:solidFill>
              </a:rPr>
              <a:t>årrække</a:t>
            </a:r>
            <a:r>
              <a:rPr lang="en-US" sz="2200" b="1" dirty="0">
                <a:solidFill>
                  <a:srgbClr val="C00000"/>
                </a:solidFill>
              </a:rPr>
              <a:t> </a:t>
            </a:r>
            <a:r>
              <a:rPr lang="en-US" sz="2200" b="1" dirty="0" err="1">
                <a:solidFill>
                  <a:srgbClr val="C00000"/>
                </a:solidFill>
              </a:rPr>
              <a:t>inden</a:t>
            </a:r>
            <a:r>
              <a:rPr lang="en-US" sz="2200" b="1" dirty="0">
                <a:solidFill>
                  <a:srgbClr val="C00000"/>
                </a:solidFill>
              </a:rPr>
              <a:t> vi alle </a:t>
            </a:r>
            <a:r>
              <a:rPr lang="en-US" sz="2200" b="1" dirty="0" err="1">
                <a:solidFill>
                  <a:srgbClr val="C00000"/>
                </a:solidFill>
              </a:rPr>
              <a:t>kommer</a:t>
            </a:r>
            <a:r>
              <a:rPr lang="en-US" sz="2200" b="1" dirty="0">
                <a:solidFill>
                  <a:srgbClr val="C00000"/>
                </a:solidFill>
              </a:rPr>
              <a:t> </a:t>
            </a:r>
            <a:r>
              <a:rPr lang="en-US" sz="2200" b="1" dirty="0" err="1">
                <a:solidFill>
                  <a:srgbClr val="C00000"/>
                </a:solidFill>
              </a:rPr>
              <a:t>helt</a:t>
            </a:r>
            <a:r>
              <a:rPr lang="en-US" sz="2200" b="1" dirty="0">
                <a:solidFill>
                  <a:srgbClr val="C00000"/>
                </a:solidFill>
              </a:rPr>
              <a:t> </a:t>
            </a:r>
            <a:r>
              <a:rPr lang="en-US" sz="2200" b="1" dirty="0" err="1">
                <a:solidFill>
                  <a:srgbClr val="C00000"/>
                </a:solidFill>
              </a:rPr>
              <a:t>på</a:t>
            </a:r>
            <a:r>
              <a:rPr lang="en-US" sz="2200" b="1" dirty="0">
                <a:solidFill>
                  <a:srgbClr val="C00000"/>
                </a:solidFill>
              </a:rPr>
              <a:t> </a:t>
            </a:r>
            <a:r>
              <a:rPr lang="en-US" sz="2200" b="1" dirty="0" err="1">
                <a:solidFill>
                  <a:srgbClr val="C00000"/>
                </a:solidFill>
              </a:rPr>
              <a:t>omgangshøjde</a:t>
            </a:r>
            <a:r>
              <a:rPr lang="en-US" sz="2200" b="1" dirty="0">
                <a:solidFill>
                  <a:srgbClr val="C00000"/>
                </a:solidFill>
              </a:rPr>
              <a:t>, </a:t>
            </a:r>
            <a:r>
              <a:rPr lang="en-US" sz="2200" b="1" dirty="0" err="1">
                <a:solidFill>
                  <a:srgbClr val="C00000"/>
                </a:solidFill>
              </a:rPr>
              <a:t>ligesom</a:t>
            </a:r>
            <a:r>
              <a:rPr lang="en-US" sz="2200" b="1" dirty="0">
                <a:solidFill>
                  <a:srgbClr val="C00000"/>
                </a:solidFill>
              </a:rPr>
              <a:t> vi </a:t>
            </a:r>
            <a:r>
              <a:rPr lang="en-US" sz="2200" b="1" dirty="0" err="1">
                <a:solidFill>
                  <a:srgbClr val="C00000"/>
                </a:solidFill>
              </a:rPr>
              <a:t>så</a:t>
            </a:r>
            <a:r>
              <a:rPr lang="en-US" sz="2200" b="1" dirty="0">
                <a:solidFill>
                  <a:srgbClr val="C00000"/>
                </a:solidFill>
              </a:rPr>
              <a:t> det med:</a:t>
            </a:r>
          </a:p>
          <a:p>
            <a:endParaRPr lang="en-US" sz="2200" dirty="0"/>
          </a:p>
          <a:p>
            <a:r>
              <a:rPr lang="en-US" sz="2200" dirty="0" err="1"/>
              <a:t>Databeskyttelse</a:t>
            </a:r>
            <a:r>
              <a:rPr lang="en-US" sz="2200" dirty="0"/>
              <a:t> (GDPR)</a:t>
            </a:r>
          </a:p>
          <a:p>
            <a:endParaRPr lang="en-US" sz="2200" dirty="0"/>
          </a:p>
          <a:p>
            <a:r>
              <a:rPr lang="en-US" sz="2200" dirty="0" err="1"/>
              <a:t>Cybersikkerhed</a:t>
            </a:r>
            <a:endParaRPr lang="en-US" sz="2200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5D6256CA-7A72-D871-71F9-989914F3DA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D8EFF8-9AFB-494C-BA2F-BDAFDF4420FE}" type="slidenum">
              <a:rPr lang="da-DK" smtClean="0"/>
              <a:pPr/>
              <a:t>7</a:t>
            </a:fld>
            <a:endParaRPr lang="da-DK"/>
          </a:p>
        </p:txBody>
      </p:sp>
      <p:cxnSp>
        <p:nvCxnSpPr>
          <p:cNvPr id="6" name="Lige forbindelse 5">
            <a:extLst>
              <a:ext uri="{FF2B5EF4-FFF2-40B4-BE49-F238E27FC236}">
                <a16:creationId xmlns:a16="http://schemas.microsoft.com/office/drawing/2014/main" id="{5E801FC4-CE87-D51D-EF09-7D6E47909C24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74471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799A11-565F-E8F9-C307-157F28AC4F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A15AB6-7C01-977C-EA01-F26EFD1A1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2373" y="2420888"/>
            <a:ext cx="10830027" cy="1362075"/>
          </a:xfrm>
        </p:spPr>
        <p:txBody>
          <a:bodyPr>
            <a:noAutofit/>
          </a:bodyPr>
          <a:lstStyle/>
          <a:p>
            <a:pPr algn="ctr">
              <a:tabLst>
                <a:tab pos="4930775" algn="l"/>
                <a:tab pos="5026025" algn="l"/>
              </a:tabLst>
            </a:pPr>
            <a:r>
              <a:rPr lang="da" b="1" dirty="0"/>
              <a:t>AI forordningen</a:t>
            </a:r>
            <a:endParaRPr lang="da-DK" b="1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FC29511-9D82-A1A4-E33C-F1AC47A65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8EFF8-9AFB-494C-BA2F-BDAFDF4420FE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E6D1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050" b="0" i="0" u="none" strike="noStrike" kern="1200" cap="none" spc="0" normalizeH="0" baseline="0" noProof="0">
              <a:ln>
                <a:noFill/>
              </a:ln>
              <a:solidFill>
                <a:srgbClr val="E6D1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108D064-028A-F1A4-DD32-E69126C9CA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9024" y="4150074"/>
            <a:ext cx="905001" cy="257211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425084D0-5A3C-12B7-C77E-92EA105C23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9025" y="1270942"/>
            <a:ext cx="905001" cy="257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247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2D24F2-2CCB-0672-75C2-9E904FFBD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C3D0F950-DE0C-701C-FE4C-0C42EEA819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sz="2000" dirty="0"/>
              <a:t>AI-forordningen, som regulerer ansvarlig brug af kunstig intelligens i Europa, er den første lovgivning i verden på dette område.</a:t>
            </a:r>
          </a:p>
          <a:p>
            <a:endParaRPr lang="da-DK" sz="2000" dirty="0"/>
          </a:p>
          <a:p>
            <a:r>
              <a:rPr lang="da-DK" sz="2000" dirty="0"/>
              <a:t>Relevant for mange – men stor forskel på, hvem der skal vide hvad.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72DBA90-551F-26F5-4AAF-4376914C2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 Act / AI </a:t>
            </a:r>
            <a:r>
              <a:rPr lang="en-US" dirty="0" err="1"/>
              <a:t>forordningen</a:t>
            </a:r>
            <a:endParaRPr lang="da-DK" dirty="0"/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C712F965-697F-DB2F-5475-B2F3163B4E81}"/>
              </a:ext>
            </a:extLst>
          </p:cNvPr>
          <p:cNvCxnSpPr/>
          <p:nvPr/>
        </p:nvCxnSpPr>
        <p:spPr>
          <a:xfrm>
            <a:off x="695400" y="1268760"/>
            <a:ext cx="720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Pladsholder til indhold 9">
            <a:extLst>
              <a:ext uri="{FF2B5EF4-FFF2-40B4-BE49-F238E27FC236}">
                <a16:creationId xmlns:a16="http://schemas.microsoft.com/office/drawing/2014/main" id="{36D1CF19-ED10-9738-7E5C-6F46E84921B9}"/>
              </a:ext>
            </a:extLst>
          </p:cNvPr>
          <p:cNvSpPr txBox="1">
            <a:spLocks/>
          </p:cNvSpPr>
          <p:nvPr/>
        </p:nvSpPr>
        <p:spPr>
          <a:xfrm>
            <a:off x="609600" y="3743213"/>
            <a:ext cx="10972800" cy="226084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D31245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3124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a-DK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>
              <a:defRPr/>
            </a:pPr>
            <a:r>
              <a:rPr lang="da-DK" sz="1600" dirty="0">
                <a:solidFill>
                  <a:prstClr val="black"/>
                </a:solidFill>
              </a:rPr>
              <a:t>Vedtaget </a:t>
            </a:r>
            <a:r>
              <a:rPr lang="da-DK" sz="1600" dirty="0">
                <a:solidFill>
                  <a:srgbClr val="C00000"/>
                </a:solidFill>
              </a:rPr>
              <a:t>sommer 2024</a:t>
            </a:r>
            <a:r>
              <a:rPr lang="da-DK" sz="1600" dirty="0">
                <a:solidFill>
                  <a:prstClr val="black"/>
                </a:solidFill>
              </a:rPr>
              <a:t>, og herefter </a:t>
            </a:r>
            <a:r>
              <a:rPr lang="da-DK" sz="1600" dirty="0">
                <a:solidFill>
                  <a:srgbClr val="C00000"/>
                </a:solidFill>
              </a:rPr>
              <a:t>trinvis ikrafttræden </a:t>
            </a:r>
            <a:r>
              <a:rPr lang="da-DK" sz="1600" dirty="0">
                <a:solidFill>
                  <a:prstClr val="black"/>
                </a:solidFill>
              </a:rPr>
              <a:t>fra februar 2025 og frem. 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3124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3</a:t>
            </a:r>
            <a:r>
              <a:rPr kumimoji="0" lang="da-DK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tikler og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ilag 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3124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v afhænger af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iko –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ærligt tunge krav til højrisiko AI samt udbydere af AI modeller til generel brug (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tGPT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v)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3124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pligtelser for både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verandører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”</a:t>
            </a:r>
            <a:r>
              <a:rPr kumimoji="0" lang="da-DK" sz="16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dbyde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) og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de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”</a:t>
            </a:r>
            <a:r>
              <a:rPr kumimoji="0" lang="da-DK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riftsætte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)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3124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åndhævelse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tionalt (Digitaliseringsstyrelsen, Datatilsynet mfl.) og på EU-plan (”</a:t>
            </a:r>
            <a:r>
              <a:rPr kumimoji="0" lang="da-DK" sz="16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uropean AI Board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 og ”</a:t>
            </a:r>
            <a:r>
              <a:rPr kumimoji="0" lang="da-DK" sz="16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Office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)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B37659EC-C621-2BD3-8E35-9E64811BB59D}"/>
              </a:ext>
            </a:extLst>
          </p:cNvPr>
          <p:cNvSpPr/>
          <p:nvPr/>
        </p:nvSpPr>
        <p:spPr>
          <a:xfrm>
            <a:off x="9120336" y="3496147"/>
            <a:ext cx="2462064" cy="471403"/>
          </a:xfrm>
          <a:prstGeom prst="rect">
            <a:avLst/>
          </a:prstGeom>
          <a:solidFill>
            <a:srgbClr val="D51E4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skrifter</a:t>
            </a:r>
          </a:p>
        </p:txBody>
      </p:sp>
    </p:spTree>
    <p:extLst>
      <p:ext uri="{BB962C8B-B14F-4D97-AF65-F5344CB8AC3E}">
        <p14:creationId xmlns:p14="http://schemas.microsoft.com/office/powerpoint/2010/main" val="40987972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p0yp.nTtH9n5hAf2nW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p0yp.nTtH9n5hAf2nWP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p0yp.nTtH9n5hAf2nWP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Brugerdefineret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00000"/>
      </a:accent1>
      <a:accent2>
        <a:srgbClr val="000000"/>
      </a:accent2>
      <a:accent3>
        <a:srgbClr val="E7D2AD"/>
      </a:accent3>
      <a:accent4>
        <a:srgbClr val="FFFFFF"/>
      </a:accent4>
      <a:accent5>
        <a:srgbClr val="DBE5F1"/>
      </a:accent5>
      <a:accent6>
        <a:srgbClr val="B7DDE8"/>
      </a:accent6>
      <a:hlink>
        <a:srgbClr val="C00000"/>
      </a:hlink>
      <a:folHlink>
        <a:srgbClr val="C00000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owerPoint FOCUS-widescreen (2)  -  Skrivebeskyttet" id="{F0078173-63C5-4D6E-883F-AF3C12A72F0B}" vid="{6E28DFE7-976F-4ADA-8913-9A7BCD41A531}"/>
    </a:ext>
  </a:extLst>
</a:theme>
</file>

<file path=ppt/theme/theme2.xml><?xml version="1.0" encoding="utf-8"?>
<a:theme xmlns:a="http://schemas.openxmlformats.org/drawingml/2006/main" name="Brugerdefineret design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FOCUS-widescreen (2)  -  Skrivebeskyttet" id="{F0078173-63C5-4D6E-883F-AF3C12A72F0B}" vid="{24ACE20A-3FF5-458A-BB36-F07D9A1B98B3}"/>
    </a:ext>
  </a:extLst>
</a:theme>
</file>

<file path=ppt/theme/theme3.xml><?xml version="1.0" encoding="utf-8"?>
<a:theme xmlns:a="http://schemas.openxmlformats.org/drawingml/2006/main" name="Blank">
  <a:themeElements>
    <a:clrScheme name="Falck">
      <a:dk1>
        <a:srgbClr val="000000"/>
      </a:dk1>
      <a:lt1>
        <a:srgbClr val="FFFFFF"/>
      </a:lt1>
      <a:dk2>
        <a:srgbClr val="FF1E28"/>
      </a:dk2>
      <a:lt2>
        <a:srgbClr val="425565"/>
      </a:lt2>
      <a:accent1>
        <a:srgbClr val="1B2045"/>
      </a:accent1>
      <a:accent2>
        <a:srgbClr val="E9E9E9"/>
      </a:accent2>
      <a:accent3>
        <a:srgbClr val="2949FA"/>
      </a:accent3>
      <a:accent4>
        <a:srgbClr val="94A4FD"/>
      </a:accent4>
      <a:accent5>
        <a:srgbClr val="66182A"/>
      </a:accent5>
      <a:accent6>
        <a:srgbClr val="BCA5AB"/>
      </a:accent6>
      <a:hlink>
        <a:srgbClr val="0000FF"/>
      </a:hlink>
      <a:folHlink>
        <a:srgbClr val="66182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/>
        </a:defPPr>
      </a:lstStyle>
    </a:txDef>
  </a:objectDefaults>
  <a:extraClrSchemeLst/>
  <a:custClrLst>
    <a:custClr name="White">
      <a:srgbClr val="FFFFFF"/>
    </a:custClr>
    <a:custClr name="Black">
      <a:srgbClr val="000000"/>
    </a:custClr>
    <a:custClr name="Dark grey">
      <a:srgbClr val="425565"/>
    </a:custClr>
    <a:custClr name="Falck red">
      <a:srgbClr val="FF1E28"/>
    </a:custClr>
    <a:custClr name="Dark blue">
      <a:srgbClr val="1B2045"/>
    </a:custClr>
    <a:custClr name="Cool grey">
      <a:srgbClr val="E9E9E9"/>
    </a:custClr>
    <a:custClr name="Vibrant blue">
      <a:srgbClr val="2949FA"/>
    </a:custClr>
    <a:custClr name="Light vibrant blue">
      <a:srgbClr val="94A4FD"/>
    </a:custClr>
    <a:custClr name="Dark red">
      <a:srgbClr val="66182A"/>
    </a:custClr>
    <a:custClr name="Light red">
      <a:srgbClr val="BCA5AB"/>
    </a:custClr>
    <a:custClr name="Response yellow">
      <a:srgbClr val="FFE600"/>
    </a:custClr>
    <a:custClr name="Green">
      <a:srgbClr val="17D471"/>
    </a:custClr>
  </a:custClrLst>
  <a:extLst>
    <a:ext uri="{05A4C25C-085E-4340-85A3-A5531E510DB2}">
      <thm15:themeFamily xmlns:thm15="http://schemas.microsoft.com/office/thememl/2012/main" name="Blank.potx" id="{DB9BCBFB-C94D-4299-8507-228305D5B4BA}" vid="{657CAB0B-F787-4239-A23D-C929C00A501E}"/>
    </a:ext>
  </a:extLst>
</a:theme>
</file>

<file path=ppt/theme/theme4.xml><?xml version="1.0" encoding="utf-8"?>
<a:theme xmlns:a="http://schemas.openxmlformats.org/drawingml/2006/main" name="Office Theme">
  <a:themeElements>
    <a:clrScheme name="Brugerdefineret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00000"/>
      </a:accent1>
      <a:accent2>
        <a:srgbClr val="000000"/>
      </a:accent2>
      <a:accent3>
        <a:srgbClr val="E7D2AD"/>
      </a:accent3>
      <a:accent4>
        <a:srgbClr val="FFFFFF"/>
      </a:accent4>
      <a:accent5>
        <a:srgbClr val="DBE5F1"/>
      </a:accent5>
      <a:accent6>
        <a:srgbClr val="B7DDE8"/>
      </a:accent6>
      <a:hlink>
        <a:srgbClr val="C00000"/>
      </a:hlink>
      <a:folHlink>
        <a:srgbClr val="C00000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Blank">
  <a:themeElements>
    <a:clrScheme name="Falck">
      <a:dk1>
        <a:srgbClr val="000000"/>
      </a:dk1>
      <a:lt1>
        <a:srgbClr val="FFFFFF"/>
      </a:lt1>
      <a:dk2>
        <a:srgbClr val="FF1E28"/>
      </a:dk2>
      <a:lt2>
        <a:srgbClr val="425565"/>
      </a:lt2>
      <a:accent1>
        <a:srgbClr val="1B2045"/>
      </a:accent1>
      <a:accent2>
        <a:srgbClr val="E9E9E9"/>
      </a:accent2>
      <a:accent3>
        <a:srgbClr val="2949FA"/>
      </a:accent3>
      <a:accent4>
        <a:srgbClr val="94A4FD"/>
      </a:accent4>
      <a:accent5>
        <a:srgbClr val="66182A"/>
      </a:accent5>
      <a:accent6>
        <a:srgbClr val="BCA5AB"/>
      </a:accent6>
      <a:hlink>
        <a:srgbClr val="0000FF"/>
      </a:hlink>
      <a:folHlink>
        <a:srgbClr val="66182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/>
        </a:defPPr>
      </a:lstStyle>
    </a:txDef>
  </a:objectDefaults>
  <a:extraClrSchemeLst/>
  <a:custClrLst>
    <a:custClr name="White">
      <a:srgbClr val="FFFFFF"/>
    </a:custClr>
    <a:custClr name="Black">
      <a:srgbClr val="000000"/>
    </a:custClr>
    <a:custClr name="Dark grey">
      <a:srgbClr val="425565"/>
    </a:custClr>
    <a:custClr name="Falck red">
      <a:srgbClr val="FF1E28"/>
    </a:custClr>
    <a:custClr name="Dark blue">
      <a:srgbClr val="1B2045"/>
    </a:custClr>
    <a:custClr name="Cool grey">
      <a:srgbClr val="E9E9E9"/>
    </a:custClr>
    <a:custClr name="Vibrant blue">
      <a:srgbClr val="2949FA"/>
    </a:custClr>
    <a:custClr name="Light vibrant blue">
      <a:srgbClr val="94A4FD"/>
    </a:custClr>
    <a:custClr name="Dark red">
      <a:srgbClr val="66182A"/>
    </a:custClr>
    <a:custClr name="Light red">
      <a:srgbClr val="BCA5AB"/>
    </a:custClr>
    <a:custClr name="Response yellow">
      <a:srgbClr val="FFE600"/>
    </a:custClr>
    <a:custClr name="Green">
      <a:srgbClr val="17D471"/>
    </a:custClr>
  </a:custClrLst>
  <a:extLst>
    <a:ext uri="{05A4C25C-085E-4340-85A3-A5531E510DB2}">
      <thm15:themeFamily xmlns:thm15="http://schemas.microsoft.com/office/thememl/2012/main" name="Blank.potx" id="{DB9BCBFB-C94D-4299-8507-228305D5B4BA}" vid="{657CAB0B-F787-4239-A23D-C929C00A501E}"/>
    </a:ext>
  </a:extLst>
</a:theme>
</file>

<file path=ppt/theme/theme6.xml><?xml version="1.0" encoding="utf-8"?>
<a:theme xmlns:a="http://schemas.openxmlformats.org/drawingml/2006/main" name="1_Blank">
  <a:themeElements>
    <a:clrScheme name="Falck">
      <a:dk1>
        <a:srgbClr val="000000"/>
      </a:dk1>
      <a:lt1>
        <a:srgbClr val="FFFFFF"/>
      </a:lt1>
      <a:dk2>
        <a:srgbClr val="FF1E28"/>
      </a:dk2>
      <a:lt2>
        <a:srgbClr val="425565"/>
      </a:lt2>
      <a:accent1>
        <a:srgbClr val="1B2045"/>
      </a:accent1>
      <a:accent2>
        <a:srgbClr val="E9E9E9"/>
      </a:accent2>
      <a:accent3>
        <a:srgbClr val="2949FA"/>
      </a:accent3>
      <a:accent4>
        <a:srgbClr val="94A4FD"/>
      </a:accent4>
      <a:accent5>
        <a:srgbClr val="66182A"/>
      </a:accent5>
      <a:accent6>
        <a:srgbClr val="BCA5AB"/>
      </a:accent6>
      <a:hlink>
        <a:srgbClr val="0000FF"/>
      </a:hlink>
      <a:folHlink>
        <a:srgbClr val="66182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/>
        </a:defPPr>
      </a:lstStyle>
    </a:txDef>
  </a:objectDefaults>
  <a:extraClrSchemeLst/>
  <a:custClrLst>
    <a:custClr name="White">
      <a:srgbClr val="FFFFFF"/>
    </a:custClr>
    <a:custClr name="Black">
      <a:srgbClr val="000000"/>
    </a:custClr>
    <a:custClr name="Dark grey">
      <a:srgbClr val="425565"/>
    </a:custClr>
    <a:custClr name="Falck red">
      <a:srgbClr val="FF1E28"/>
    </a:custClr>
    <a:custClr name="Dark blue">
      <a:srgbClr val="1B2045"/>
    </a:custClr>
    <a:custClr name="Cool grey">
      <a:srgbClr val="E9E9E9"/>
    </a:custClr>
    <a:custClr name="Vibrant blue">
      <a:srgbClr val="2949FA"/>
    </a:custClr>
    <a:custClr name="Light vibrant blue">
      <a:srgbClr val="94A4FD"/>
    </a:custClr>
    <a:custClr name="Dark red">
      <a:srgbClr val="66182A"/>
    </a:custClr>
    <a:custClr name="Light red">
      <a:srgbClr val="BCA5AB"/>
    </a:custClr>
    <a:custClr name="Response yellow">
      <a:srgbClr val="FFE600"/>
    </a:custClr>
    <a:custClr name="Green">
      <a:srgbClr val="17D471"/>
    </a:custClr>
  </a:custClrLst>
  <a:extLst>
    <a:ext uri="{05A4C25C-085E-4340-85A3-A5531E510DB2}">
      <thm15:themeFamily xmlns:thm15="http://schemas.microsoft.com/office/thememl/2012/main" name="Blank.potx" id="{DB9BCBFB-C94D-4299-8507-228305D5B4BA}" vid="{657CAB0B-F787-4239-A23D-C929C00A501E}"/>
    </a:ext>
  </a:extLst>
</a:theme>
</file>

<file path=ppt/theme/theme7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cb3ef1f-7c84-4b6f-839f-669e6f782e68" xsi:nil="true"/>
    <lcf76f155ced4ddcb4097134ff3c332f xmlns="d858c220-1cb9-4fd7-897f-6317596acce2">
      <Terms xmlns="http://schemas.microsoft.com/office/infopath/2007/PartnerControls"/>
    </lcf76f155ced4ddcb4097134ff3c332f>
    <_ModernAudienceTargetUserField xmlns="d858c220-1cb9-4fd7-897f-6317596acce2">
      <UserInfo>
        <DisplayName/>
        <AccountId xsi:nil="true"/>
        <AccountType/>
      </UserInfo>
    </_ModernAudienceTargetUserField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6FDC4A34F78442B64C5BAAB49258CC" ma:contentTypeVersion="17" ma:contentTypeDescription="Create a new document." ma:contentTypeScope="" ma:versionID="1508b2390caba2a8c6e8f6c2a5a073c2">
  <xsd:schema xmlns:xsd="http://www.w3.org/2001/XMLSchema" xmlns:xs="http://www.w3.org/2001/XMLSchema" xmlns:p="http://schemas.microsoft.com/office/2006/metadata/properties" xmlns:ns2="5cb3ef1f-7c84-4b6f-839f-669e6f782e68" xmlns:ns3="d858c220-1cb9-4fd7-897f-6317596acce2" targetNamespace="http://schemas.microsoft.com/office/2006/metadata/properties" ma:root="true" ma:fieldsID="bb8f9303e8422d818f9d88a82fa53c4f" ns2:_="" ns3:_="">
    <xsd:import namespace="5cb3ef1f-7c84-4b6f-839f-669e6f782e68"/>
    <xsd:import namespace="d858c220-1cb9-4fd7-897f-6317596acce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_ModernAudienceTargetUserField" minOccurs="0"/>
                <xsd:element ref="ns3:_ModernAudienceAadObjectI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b3ef1f-7c84-4b6f-839f-669e6f782e6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dc3fae2-7169-4854-938d-08d9b921aca9}" ma:internalName="TaxCatchAll" ma:showField="CatchAllData" ma:web="5cb3ef1f-7c84-4b6f-839f-669e6f782e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58c220-1cb9-4fd7-897f-6317596acc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1a135494-0655-41a3-9eb6-879e874cfa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description="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_ModernAudienceTargetUserField" ma:index="23" nillable="true" ma:displayName="Audience" ma:list="UserInfo" ma:SharePointGroup="0" ma:internalName="_ModernAudienceTargetUserField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ModernAudienceAadObjectIds" ma:index="24" nillable="true" ma:displayName="AudienceIds" ma:list="{15f32ccd-0821-41b8-9c4f-aa62d463d22b}" ma:internalName="_ModernAudienceAadObjectIds" ma:readOnly="true" ma:showField="_AadObjectIdForUser" ma:web="5cb3ef1f-7c84-4b6f-839f-669e6f782e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FEF5AD9-9E98-4085-8562-D6F7F843E777}">
  <ds:schemaRefs>
    <ds:schemaRef ds:uri="http://purl.org/dc/elements/1.1/"/>
    <ds:schemaRef ds:uri="5cb3ef1f-7c84-4b6f-839f-669e6f782e68"/>
    <ds:schemaRef ds:uri="http://www.w3.org/XML/1998/namespace"/>
    <ds:schemaRef ds:uri="http://purl.org/dc/dcmitype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d858c220-1cb9-4fd7-897f-6317596acce2"/>
  </ds:schemaRefs>
</ds:datastoreItem>
</file>

<file path=customXml/itemProps2.xml><?xml version="1.0" encoding="utf-8"?>
<ds:datastoreItem xmlns:ds="http://schemas.openxmlformats.org/officeDocument/2006/customXml" ds:itemID="{E6378646-17DF-4580-A422-DF29167910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ECB597B-81C8-48A2-B242-331A57015E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b3ef1f-7c84-4b6f-839f-669e6f782e68"/>
    <ds:schemaRef ds:uri="d858c220-1cb9-4fd7-897f-6317596acc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FOCUS-widescreen, dec.2021 (1)</Template>
  <TotalTime>8166</TotalTime>
  <Words>2685</Words>
  <Application>Microsoft Office PowerPoint</Application>
  <PresentationFormat>Widescreen</PresentationFormat>
  <Paragraphs>405</Paragraphs>
  <Slides>29</Slides>
  <Notes>2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0</vt:i4>
      </vt:variant>
      <vt:variant>
        <vt:lpstr>Tema</vt:lpstr>
      </vt:variant>
      <vt:variant>
        <vt:i4>6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9</vt:i4>
      </vt:variant>
    </vt:vector>
  </HeadingPairs>
  <TitlesOfParts>
    <vt:vector size="46" baseType="lpstr">
      <vt:lpstr>Aptos</vt:lpstr>
      <vt:lpstr>Arial</vt:lpstr>
      <vt:lpstr>Arial Black</vt:lpstr>
      <vt:lpstr>Bahnschrift</vt:lpstr>
      <vt:lpstr>Calibri</vt:lpstr>
      <vt:lpstr>Calibri Light</vt:lpstr>
      <vt:lpstr>Courier New</vt:lpstr>
      <vt:lpstr>inherit</vt:lpstr>
      <vt:lpstr>Inter</vt:lpstr>
      <vt:lpstr>Wingdings</vt:lpstr>
      <vt:lpstr>Office-tema</vt:lpstr>
      <vt:lpstr>Brugerdefineret design</vt:lpstr>
      <vt:lpstr>Blank</vt:lpstr>
      <vt:lpstr>Office Theme</vt:lpstr>
      <vt:lpstr>1_Blank</vt:lpstr>
      <vt:lpstr>1_Blank</vt:lpstr>
      <vt:lpstr>think-cell Slide</vt:lpstr>
      <vt:lpstr>AI forordningens krav til AI-færdigheder</vt:lpstr>
      <vt:lpstr>Dagsorden</vt:lpstr>
      <vt:lpstr>Dagens webinar handler om overblik</vt:lpstr>
      <vt:lpstr>Ai er komplekst!</vt:lpstr>
      <vt:lpstr>AI fra et juridisk perspektiv</vt:lpstr>
      <vt:lpstr>Danske AI-signaturprojekter</vt:lpstr>
      <vt:lpstr>Vi er alle på en modenhedsrejse</vt:lpstr>
      <vt:lpstr>AI forordningen</vt:lpstr>
      <vt:lpstr>AI Act / AI forordningen</vt:lpstr>
      <vt:lpstr>Overblik over forordningens forpligtelser </vt:lpstr>
      <vt:lpstr>Overlap og samspil med anden regulering</vt:lpstr>
      <vt:lpstr>Mere viden om AI forordningen</vt:lpstr>
      <vt:lpstr>Deep dive: AI færdigheder</vt:lpstr>
      <vt:lpstr>Overblik over forordningens forpligtelser </vt:lpstr>
      <vt:lpstr>AI Act art. 4 – ”AI færdigheder”</vt:lpstr>
      <vt:lpstr>DS/PAS 2500 – 4:2025</vt:lpstr>
      <vt:lpstr>Kommissionens Q&amp;A fra maj 2025 – Uddrag:</vt:lpstr>
      <vt:lpstr>Kommissionens Q&amp;A fra maj 2025 – Uddrag:</vt:lpstr>
      <vt:lpstr>Andre interessante elementer fra Kommissionens Q&amp;A</vt:lpstr>
      <vt:lpstr>Hvilke risici?</vt:lpstr>
      <vt:lpstr>Hvilke risici?</vt:lpstr>
      <vt:lpstr>Afrunding og anbefalinger</vt:lpstr>
      <vt:lpstr>Opsamling</vt:lpstr>
      <vt:lpstr>4 trin (ifølge DIGST)</vt:lpstr>
      <vt:lpstr>Teknisk og juridisk viden</vt:lpstr>
      <vt:lpstr>Teknisk og juridisk viden (eksempel!)</vt:lpstr>
      <vt:lpstr>Spørgsmål</vt:lpstr>
      <vt:lpstr>PowerPoint-præsentation</vt:lpstr>
      <vt:lpstr>Tech-teamet</vt:lpstr>
    </vt:vector>
  </TitlesOfParts>
  <Company>Kernel U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….</dc:title>
  <dc:creator>Mette Juhl</dc:creator>
  <cp:lastModifiedBy>Jesper Løffler Nielsen</cp:lastModifiedBy>
  <cp:revision>55</cp:revision>
  <cp:lastPrinted>2025-04-22T15:24:31Z</cp:lastPrinted>
  <dcterms:created xsi:type="dcterms:W3CDTF">2022-01-12T07:46:55Z</dcterms:created>
  <dcterms:modified xsi:type="dcterms:W3CDTF">2025-10-09T13:3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6FDC4A34F78442B64C5BAAB49258CC</vt:lpwstr>
  </property>
  <property fmtid="{D5CDD505-2E9C-101B-9397-08002B2CF9AE}" pid="3" name="_dlc_DocIdItemGuid">
    <vt:lpwstr>82b924c0-9554-41f6-9506-f6cb420c2698</vt:lpwstr>
  </property>
  <property fmtid="{D5CDD505-2E9C-101B-9397-08002B2CF9AE}" pid="4" name="MediaServiceImageTags">
    <vt:lpwstr/>
  </property>
</Properties>
</file>